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923" r:id="rId4"/>
    <p:sldMasterId id="2147484963" r:id="rId5"/>
  </p:sldMasterIdLst>
  <p:notesMasterIdLst>
    <p:notesMasterId r:id="rId9"/>
  </p:notesMasterIdLst>
  <p:handoutMasterIdLst>
    <p:handoutMasterId r:id="rId10"/>
  </p:handoutMasterIdLst>
  <p:sldIdLst>
    <p:sldId id="260" r:id="rId6"/>
    <p:sldId id="261" r:id="rId7"/>
    <p:sldId id="262" r:id="rId8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5" name="Author" initials="A" lastIdx="0" clrIdx="2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3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941" autoAdjust="0"/>
    <p:restoredTop sz="96265" autoAdjust="0"/>
  </p:normalViewPr>
  <p:slideViewPr>
    <p:cSldViewPr snapToGrid="0">
      <p:cViewPr varScale="1">
        <p:scale>
          <a:sx n="62" d="100"/>
          <a:sy n="62" d="100"/>
        </p:scale>
        <p:origin x="11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91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575B2F-6CE0-4914-8246-9ED0849680C7}" type="datetimeFigureOut">
              <a:rPr lang="en-US" smtClean="0">
                <a:latin typeface="Arial" panose="020B0604020202020204" pitchFamily="34" charset="0"/>
              </a:rPr>
              <a:t>2/17/20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2AE1D8-097E-408F-BC93-9C7E7B87CC97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07140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41BD21D-79A1-471A-8D52-B677569FC592}" type="datetimeFigureOut">
              <a:rPr lang="en-US" smtClean="0"/>
              <a:pPr/>
              <a:t>2/1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5F3DBDF-8778-4735-923C-2DE07CECD85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8008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idemiagroup/" TargetMode="External"/><Relationship Id="rId3" Type="http://schemas.openxmlformats.org/officeDocument/2006/relationships/image" Target="../media/image3.png"/><Relationship Id="rId7" Type="http://schemas.openxmlformats.org/officeDocument/2006/relationships/hyperlink" Target="https://www.youtube.com/IDEMIA" TargetMode="External"/><Relationship Id="rId2" Type="http://schemas.openxmlformats.org/officeDocument/2006/relationships/hyperlink" Target="http://www.idemia.com/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linkedin.com/company/3488/" TargetMode="External"/><Relationship Id="rId5" Type="http://schemas.openxmlformats.org/officeDocument/2006/relationships/hyperlink" Target="https://twitter.com/IdemiaGroup" TargetMode="External"/><Relationship Id="rId4" Type="http://schemas.openxmlformats.org/officeDocument/2006/relationships/hyperlink" Target="https://www.facebook.com/IdemiaGroup/" TargetMode="Externa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idemiagroup/" TargetMode="External"/><Relationship Id="rId3" Type="http://schemas.openxmlformats.org/officeDocument/2006/relationships/image" Target="../media/image3.png"/><Relationship Id="rId7" Type="http://schemas.openxmlformats.org/officeDocument/2006/relationships/hyperlink" Target="https://www.youtube.com/IDEMIA" TargetMode="External"/><Relationship Id="rId2" Type="http://schemas.openxmlformats.org/officeDocument/2006/relationships/hyperlink" Target="http://www.idemia.com/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linkedin.com/company/3488/" TargetMode="External"/><Relationship Id="rId5" Type="http://schemas.openxmlformats.org/officeDocument/2006/relationships/hyperlink" Target="https://twitter.com/IdemiaGroup" TargetMode="External"/><Relationship Id="rId4" Type="http://schemas.openxmlformats.org/officeDocument/2006/relationships/hyperlink" Target="https://www.facebook.com/IdemiaGroup/" TargetMode="Externa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idemiagroup/" TargetMode="External"/><Relationship Id="rId3" Type="http://schemas.openxmlformats.org/officeDocument/2006/relationships/image" Target="../media/image3.png"/><Relationship Id="rId7" Type="http://schemas.openxmlformats.org/officeDocument/2006/relationships/hyperlink" Target="https://www.youtube.com/IDEMIA" TargetMode="External"/><Relationship Id="rId2" Type="http://schemas.openxmlformats.org/officeDocument/2006/relationships/hyperlink" Target="http://www.idemia.com/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www.linkedin.com/company/3488/" TargetMode="External"/><Relationship Id="rId5" Type="http://schemas.openxmlformats.org/officeDocument/2006/relationships/hyperlink" Target="https://twitter.com/IdemiaGroup" TargetMode="External"/><Relationship Id="rId4" Type="http://schemas.openxmlformats.org/officeDocument/2006/relationships/hyperlink" Target="https://www.facebook.com/IdemiaGroup/" TargetMode="Externa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idemiagroup/" TargetMode="External"/><Relationship Id="rId3" Type="http://schemas.openxmlformats.org/officeDocument/2006/relationships/image" Target="../media/image3.png"/><Relationship Id="rId7" Type="http://schemas.openxmlformats.org/officeDocument/2006/relationships/hyperlink" Target="https://www.youtube.com/IDEMIA" TargetMode="External"/><Relationship Id="rId2" Type="http://schemas.openxmlformats.org/officeDocument/2006/relationships/hyperlink" Target="http://www.idemia.com/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www.linkedin.com/company/3488/" TargetMode="External"/><Relationship Id="rId5" Type="http://schemas.openxmlformats.org/officeDocument/2006/relationships/hyperlink" Target="https://twitter.com/IdemiaGroup" TargetMode="External"/><Relationship Id="rId4" Type="http://schemas.openxmlformats.org/officeDocument/2006/relationships/hyperlink" Target="https://www.facebook.com/IdemiaGroup/" TargetMode="Externa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for background pic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7EBE907-0231-4280-83B0-07B8B8D73B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>
                  <a:alpha val="20000"/>
                </a:schemeClr>
              </a:gs>
            </a:gsLst>
            <a:lin ang="189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5708" y="1189821"/>
            <a:ext cx="6232000" cy="2650659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5000">
                <a:solidFill>
                  <a:schemeClr val="bg1"/>
                </a:solidFill>
                <a:effectLst/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5707" y="4102388"/>
            <a:ext cx="6232000" cy="1728000"/>
          </a:xfrm>
          <a:noFill/>
          <a:effectLst/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Insert subtitle here. Right click on slide background to set picture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35708" y="6375123"/>
            <a:ext cx="2328672" cy="20512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l">
              <a:defRPr lang="en-US" sz="1333" b="0" smtClean="0">
                <a:solidFill>
                  <a:schemeClr val="bg1"/>
                </a:solidFill>
                <a:latin typeface="Arial"/>
              </a:defRPr>
            </a:lvl1pPr>
          </a:lstStyle>
          <a:p>
            <a:pPr defTabSz="914377"/>
            <a:fld id="{9224E064-3AA5-4301-8696-F74697DA42A1}" type="datetime1">
              <a:rPr lang="en-US" smtClean="0"/>
              <a:t>2/17/2023</a:t>
            </a:fld>
            <a:endParaRPr lang="en-US" dirty="0"/>
          </a:p>
        </p:txBody>
      </p:sp>
      <p:grpSp>
        <p:nvGrpSpPr>
          <p:cNvPr id="131" name="Group 6">
            <a:extLst>
              <a:ext uri="{FF2B5EF4-FFF2-40B4-BE49-F238E27FC236}">
                <a16:creationId xmlns:a16="http://schemas.microsoft.com/office/drawing/2014/main" id="{2F2C2701-CCA7-4290-81A8-F02B34EFCE7C}"/>
              </a:ext>
            </a:extLst>
          </p:cNvPr>
          <p:cNvGrpSpPr/>
          <p:nvPr/>
        </p:nvGrpSpPr>
        <p:grpSpPr bwMode="black">
          <a:xfrm>
            <a:off x="635708" y="622301"/>
            <a:ext cx="1549408" cy="391252"/>
            <a:chOff x="447675" y="4187826"/>
            <a:chExt cx="2049463" cy="517525"/>
          </a:xfrm>
          <a:solidFill>
            <a:schemeClr val="bg1"/>
          </a:solidFill>
        </p:grpSpPr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CC2EE4D3-0CE7-4A96-B4BE-7F5CD5FA3ACB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 6">
              <a:extLst>
                <a:ext uri="{FF2B5EF4-FFF2-40B4-BE49-F238E27FC236}">
                  <a16:creationId xmlns:a16="http://schemas.microsoft.com/office/drawing/2014/main" id="{8A1F9E01-43DB-4F91-AF8C-6E73E0130DE4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 7">
              <a:extLst>
                <a:ext uri="{FF2B5EF4-FFF2-40B4-BE49-F238E27FC236}">
                  <a16:creationId xmlns:a16="http://schemas.microsoft.com/office/drawing/2014/main" id="{FA04AF4E-0CEF-4BBE-95C3-3D2C8577AA9C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Freeform 8">
              <a:extLst>
                <a:ext uri="{FF2B5EF4-FFF2-40B4-BE49-F238E27FC236}">
                  <a16:creationId xmlns:a16="http://schemas.microsoft.com/office/drawing/2014/main" id="{7919488A-9DB6-48AC-A14D-E639BE5F6A9D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 9">
              <a:extLst>
                <a:ext uri="{FF2B5EF4-FFF2-40B4-BE49-F238E27FC236}">
                  <a16:creationId xmlns:a16="http://schemas.microsoft.com/office/drawing/2014/main" id="{4710171C-5150-4A9D-8099-BF9696999E0F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" name="Graphique 90">
            <a:extLst>
              <a:ext uri="{FF2B5EF4-FFF2-40B4-BE49-F238E27FC236}">
                <a16:creationId xmlns:a16="http://schemas.microsoft.com/office/drawing/2014/main" id="{8F9A7732-D3F3-45DE-BDCC-790EACE83CA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96861" y="-159325"/>
            <a:ext cx="4275968" cy="7176650"/>
            <a:chOff x="674663" y="546699"/>
            <a:chExt cx="1130383" cy="1897200"/>
          </a:xfrm>
        </p:grpSpPr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DDAF9D7A-95F7-4756-B21C-517F751132B6}"/>
                </a:ext>
              </a:extLst>
            </p:cNvPr>
            <p:cNvSpPr/>
            <p:nvPr/>
          </p:nvSpPr>
          <p:spPr>
            <a:xfrm>
              <a:off x="1345212" y="546699"/>
              <a:ext cx="385329" cy="642641"/>
            </a:xfrm>
            <a:custGeom>
              <a:avLst/>
              <a:gdLst>
                <a:gd name="connsiteX0" fmla="*/ 386353 w 385328"/>
                <a:gd name="connsiteY0" fmla="*/ 643537 h 642641"/>
                <a:gd name="connsiteX1" fmla="*/ 0 w 385328"/>
                <a:gd name="connsiteY1" fmla="*/ 180503 h 642641"/>
                <a:gd name="connsiteX2" fmla="*/ 0 w 385328"/>
                <a:gd name="connsiteY2" fmla="*/ 0 h 64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5328" h="642641">
                  <a:moveTo>
                    <a:pt x="386353" y="643537"/>
                  </a:moveTo>
                  <a:cubicBezTo>
                    <a:pt x="386353" y="416565"/>
                    <a:pt x="220956" y="227101"/>
                    <a:pt x="0" y="180503"/>
                  </a:cubicBez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>
                  <a:alpha val="2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lvl="0"/>
              <a:endParaRPr lang="en-US" sz="3200" dirty="0"/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2A0CED26-E3DA-4478-AC5B-E7283B2B00C4}"/>
                </a:ext>
              </a:extLst>
            </p:cNvPr>
            <p:cNvSpPr/>
            <p:nvPr/>
          </p:nvSpPr>
          <p:spPr>
            <a:xfrm>
              <a:off x="1415493" y="546699"/>
              <a:ext cx="385329" cy="642641"/>
            </a:xfrm>
            <a:custGeom>
              <a:avLst/>
              <a:gdLst>
                <a:gd name="connsiteX0" fmla="*/ 386353 w 385328"/>
                <a:gd name="connsiteY0" fmla="*/ 643537 h 642641"/>
                <a:gd name="connsiteX1" fmla="*/ 0 w 385328"/>
                <a:gd name="connsiteY1" fmla="*/ 129040 h 642641"/>
                <a:gd name="connsiteX2" fmla="*/ 0 w 385328"/>
                <a:gd name="connsiteY2" fmla="*/ 0 h 64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5328" h="642641">
                  <a:moveTo>
                    <a:pt x="386353" y="643537"/>
                  </a:moveTo>
                  <a:cubicBezTo>
                    <a:pt x="386353" y="403379"/>
                    <a:pt x="224284" y="200089"/>
                    <a:pt x="0" y="129040"/>
                  </a:cubicBez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>
                  <a:alpha val="2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lvl="0"/>
              <a:endParaRPr lang="en-US" sz="3200" dirty="0"/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FE529E63-B9CD-4D37-B720-16DE644738B9}"/>
                </a:ext>
              </a:extLst>
            </p:cNvPr>
            <p:cNvSpPr/>
            <p:nvPr/>
          </p:nvSpPr>
          <p:spPr>
            <a:xfrm>
              <a:off x="1274931" y="546699"/>
              <a:ext cx="385329" cy="642641"/>
            </a:xfrm>
            <a:custGeom>
              <a:avLst/>
              <a:gdLst>
                <a:gd name="connsiteX0" fmla="*/ 386353 w 385328"/>
                <a:gd name="connsiteY0" fmla="*/ 643537 h 642641"/>
                <a:gd name="connsiteX1" fmla="*/ 0 w 385328"/>
                <a:gd name="connsiteY1" fmla="*/ 238750 h 642641"/>
                <a:gd name="connsiteX2" fmla="*/ 0 w 385328"/>
                <a:gd name="connsiteY2" fmla="*/ 0 h 64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5328" h="642641">
                  <a:moveTo>
                    <a:pt x="386353" y="643537"/>
                  </a:moveTo>
                  <a:cubicBezTo>
                    <a:pt x="386353" y="430518"/>
                    <a:pt x="216347" y="256032"/>
                    <a:pt x="0" y="238750"/>
                  </a:cubicBez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>
                  <a:alpha val="2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lvl="0"/>
              <a:endParaRPr lang="en-US" sz="3200" dirty="0"/>
            </a:p>
          </p:txBody>
        </p:sp>
        <p:sp>
          <p:nvSpPr>
            <p:cNvPr id="17" name="Forme libre : forme 16">
              <a:extLst>
                <a:ext uri="{FF2B5EF4-FFF2-40B4-BE49-F238E27FC236}">
                  <a16:creationId xmlns:a16="http://schemas.microsoft.com/office/drawing/2014/main" id="{5553BB30-8972-4E20-B7EE-CE2D77AC0D78}"/>
                </a:ext>
              </a:extLst>
            </p:cNvPr>
            <p:cNvSpPr/>
            <p:nvPr/>
          </p:nvSpPr>
          <p:spPr>
            <a:xfrm>
              <a:off x="888578" y="919354"/>
              <a:ext cx="701529" cy="1218714"/>
            </a:xfrm>
            <a:custGeom>
              <a:avLst/>
              <a:gdLst>
                <a:gd name="connsiteX0" fmla="*/ 0 w 701528"/>
                <a:gd name="connsiteY0" fmla="*/ 880623 h 1218714"/>
                <a:gd name="connsiteX1" fmla="*/ 351148 w 701528"/>
                <a:gd name="connsiteY1" fmla="*/ 1219226 h 1218714"/>
                <a:gd name="connsiteX2" fmla="*/ 702297 w 701528"/>
                <a:gd name="connsiteY2" fmla="*/ 880623 h 1218714"/>
                <a:gd name="connsiteX3" fmla="*/ 351148 w 701528"/>
                <a:gd name="connsiteY3" fmla="*/ 541893 h 1218714"/>
                <a:gd name="connsiteX4" fmla="*/ 70153 w 701528"/>
                <a:gd name="connsiteY4" fmla="*/ 270882 h 1218714"/>
                <a:gd name="connsiteX5" fmla="*/ 351148 w 701528"/>
                <a:gd name="connsiteY5" fmla="*/ 0 h 1218714"/>
                <a:gd name="connsiteX6" fmla="*/ 632144 w 701528"/>
                <a:gd name="connsiteY6" fmla="*/ 270882 h 121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1528" h="1218714">
                  <a:moveTo>
                    <a:pt x="0" y="880623"/>
                  </a:moveTo>
                  <a:cubicBezTo>
                    <a:pt x="0" y="1067655"/>
                    <a:pt x="157204" y="1219226"/>
                    <a:pt x="351148" y="1219226"/>
                  </a:cubicBezTo>
                  <a:cubicBezTo>
                    <a:pt x="545093" y="1219226"/>
                    <a:pt x="702297" y="1067655"/>
                    <a:pt x="702297" y="880623"/>
                  </a:cubicBezTo>
                  <a:cubicBezTo>
                    <a:pt x="702297" y="693592"/>
                    <a:pt x="545093" y="541893"/>
                    <a:pt x="351148" y="541893"/>
                  </a:cubicBezTo>
                  <a:cubicBezTo>
                    <a:pt x="195993" y="541893"/>
                    <a:pt x="70153" y="420533"/>
                    <a:pt x="70153" y="270882"/>
                  </a:cubicBezTo>
                  <a:cubicBezTo>
                    <a:pt x="70153" y="121231"/>
                    <a:pt x="195993" y="0"/>
                    <a:pt x="351148" y="0"/>
                  </a:cubicBezTo>
                  <a:cubicBezTo>
                    <a:pt x="506304" y="0"/>
                    <a:pt x="632144" y="121231"/>
                    <a:pt x="632144" y="270882"/>
                  </a:cubicBezTo>
                </a:path>
              </a:pathLst>
            </a:custGeom>
            <a:noFill/>
            <a:ln w="12700" cap="rnd">
              <a:solidFill>
                <a:schemeClr val="bg1">
                  <a:alpha val="2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lvl="0"/>
              <a:endParaRPr lang="en-US" sz="3200" dirty="0"/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0608B881-6082-49BF-9BB4-0D421EED3344}"/>
                </a:ext>
              </a:extLst>
            </p:cNvPr>
            <p:cNvSpPr/>
            <p:nvPr/>
          </p:nvSpPr>
          <p:spPr>
            <a:xfrm>
              <a:off x="888706" y="851634"/>
              <a:ext cx="701529" cy="1218714"/>
            </a:xfrm>
            <a:custGeom>
              <a:avLst/>
              <a:gdLst>
                <a:gd name="connsiteX0" fmla="*/ 70153 w 701528"/>
                <a:gd name="connsiteY0" fmla="*/ 948344 h 1218714"/>
                <a:gd name="connsiteX1" fmla="*/ 351148 w 701528"/>
                <a:gd name="connsiteY1" fmla="*/ 1219226 h 1218714"/>
                <a:gd name="connsiteX2" fmla="*/ 632144 w 701528"/>
                <a:gd name="connsiteY2" fmla="*/ 948344 h 1218714"/>
                <a:gd name="connsiteX3" fmla="*/ 351148 w 701528"/>
                <a:gd name="connsiteY3" fmla="*/ 677334 h 1218714"/>
                <a:gd name="connsiteX4" fmla="*/ 0 w 701528"/>
                <a:gd name="connsiteY4" fmla="*/ 338603 h 1218714"/>
                <a:gd name="connsiteX5" fmla="*/ 351148 w 701528"/>
                <a:gd name="connsiteY5" fmla="*/ 0 h 1218714"/>
                <a:gd name="connsiteX6" fmla="*/ 702297 w 701528"/>
                <a:gd name="connsiteY6" fmla="*/ 338603 h 121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1528" h="1218714">
                  <a:moveTo>
                    <a:pt x="70153" y="948344"/>
                  </a:moveTo>
                  <a:cubicBezTo>
                    <a:pt x="70153" y="1097995"/>
                    <a:pt x="195993" y="1219226"/>
                    <a:pt x="351148" y="1219226"/>
                  </a:cubicBezTo>
                  <a:cubicBezTo>
                    <a:pt x="506304" y="1219226"/>
                    <a:pt x="632144" y="1097995"/>
                    <a:pt x="632144" y="948344"/>
                  </a:cubicBezTo>
                  <a:cubicBezTo>
                    <a:pt x="632144" y="798693"/>
                    <a:pt x="506304" y="677334"/>
                    <a:pt x="351148" y="677334"/>
                  </a:cubicBezTo>
                  <a:cubicBezTo>
                    <a:pt x="157204" y="677334"/>
                    <a:pt x="0" y="525635"/>
                    <a:pt x="0" y="338603"/>
                  </a:cubicBezTo>
                  <a:cubicBezTo>
                    <a:pt x="0" y="151571"/>
                    <a:pt x="157204" y="0"/>
                    <a:pt x="351148" y="0"/>
                  </a:cubicBezTo>
                  <a:cubicBezTo>
                    <a:pt x="545093" y="0"/>
                    <a:pt x="702297" y="151571"/>
                    <a:pt x="702297" y="338603"/>
                  </a:cubicBezTo>
                </a:path>
              </a:pathLst>
            </a:custGeom>
            <a:noFill/>
            <a:ln w="12700" cap="rnd">
              <a:solidFill>
                <a:schemeClr val="bg1">
                  <a:alpha val="2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lvl="0"/>
              <a:endParaRPr lang="en-US" sz="3200" dirty="0"/>
            </a:p>
          </p:txBody>
        </p:sp>
        <p:sp>
          <p:nvSpPr>
            <p:cNvPr id="19" name="Forme libre : forme 18">
              <a:extLst>
                <a:ext uri="{FF2B5EF4-FFF2-40B4-BE49-F238E27FC236}">
                  <a16:creationId xmlns:a16="http://schemas.microsoft.com/office/drawing/2014/main" id="{5192D0D9-B825-49D5-BEEB-C00741200300}"/>
                </a:ext>
              </a:extLst>
            </p:cNvPr>
            <p:cNvSpPr/>
            <p:nvPr/>
          </p:nvSpPr>
          <p:spPr>
            <a:xfrm>
              <a:off x="818297" y="546699"/>
              <a:ext cx="631120" cy="1455544"/>
            </a:xfrm>
            <a:custGeom>
              <a:avLst/>
              <a:gdLst>
                <a:gd name="connsiteX0" fmla="*/ 386353 w 631119"/>
                <a:gd name="connsiteY0" fmla="*/ 0 h 1455544"/>
                <a:gd name="connsiteX1" fmla="*/ 386353 w 631119"/>
                <a:gd name="connsiteY1" fmla="*/ 238750 h 1455544"/>
                <a:gd name="connsiteX2" fmla="*/ 0 w 631119"/>
                <a:gd name="connsiteY2" fmla="*/ 643537 h 1455544"/>
                <a:gd name="connsiteX3" fmla="*/ 421429 w 631119"/>
                <a:gd name="connsiteY3" fmla="*/ 1049989 h 1455544"/>
                <a:gd name="connsiteX4" fmla="*/ 632144 w 631119"/>
                <a:gd name="connsiteY4" fmla="*/ 1253279 h 1455544"/>
                <a:gd name="connsiteX5" fmla="*/ 421429 w 631119"/>
                <a:gd name="connsiteY5" fmla="*/ 1456440 h 1455544"/>
                <a:gd name="connsiteX6" fmla="*/ 210715 w 631119"/>
                <a:gd name="connsiteY6" fmla="*/ 1253279 h 1455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1119" h="1455544">
                  <a:moveTo>
                    <a:pt x="386353" y="0"/>
                  </a:moveTo>
                  <a:lnTo>
                    <a:pt x="386353" y="238750"/>
                  </a:lnTo>
                  <a:cubicBezTo>
                    <a:pt x="170006" y="256032"/>
                    <a:pt x="0" y="430390"/>
                    <a:pt x="0" y="643537"/>
                  </a:cubicBezTo>
                  <a:cubicBezTo>
                    <a:pt x="0" y="867950"/>
                    <a:pt x="188696" y="1049989"/>
                    <a:pt x="421429" y="1049989"/>
                  </a:cubicBezTo>
                  <a:cubicBezTo>
                    <a:pt x="537796" y="1049989"/>
                    <a:pt x="632144" y="1141008"/>
                    <a:pt x="632144" y="1253279"/>
                  </a:cubicBezTo>
                  <a:cubicBezTo>
                    <a:pt x="632144" y="1365549"/>
                    <a:pt x="537796" y="1456440"/>
                    <a:pt x="421429" y="1456440"/>
                  </a:cubicBezTo>
                  <a:cubicBezTo>
                    <a:pt x="305063" y="1456440"/>
                    <a:pt x="210715" y="1365421"/>
                    <a:pt x="210715" y="1253279"/>
                  </a:cubicBezTo>
                </a:path>
              </a:pathLst>
            </a:custGeom>
            <a:noFill/>
            <a:ln w="12700" cap="rnd">
              <a:solidFill>
                <a:schemeClr val="bg1">
                  <a:alpha val="2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lvl="0"/>
              <a:endParaRPr lang="en-US" sz="3200" dirty="0"/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7C91CAA3-F6F8-4BDE-9930-C5E9C73410D3}"/>
                </a:ext>
              </a:extLst>
            </p:cNvPr>
            <p:cNvSpPr/>
            <p:nvPr/>
          </p:nvSpPr>
          <p:spPr>
            <a:xfrm>
              <a:off x="748144" y="546699"/>
              <a:ext cx="631120" cy="1387696"/>
            </a:xfrm>
            <a:custGeom>
              <a:avLst/>
              <a:gdLst>
                <a:gd name="connsiteX0" fmla="*/ 386353 w 631119"/>
                <a:gd name="connsiteY0" fmla="*/ 0 h 1387695"/>
                <a:gd name="connsiteX1" fmla="*/ 386353 w 631119"/>
                <a:gd name="connsiteY1" fmla="*/ 180503 h 1387695"/>
                <a:gd name="connsiteX2" fmla="*/ 0 w 631119"/>
                <a:gd name="connsiteY2" fmla="*/ 643537 h 1387695"/>
                <a:gd name="connsiteX3" fmla="*/ 491710 w 631119"/>
                <a:gd name="connsiteY3" fmla="*/ 1117837 h 1387695"/>
                <a:gd name="connsiteX4" fmla="*/ 632144 w 631119"/>
                <a:gd name="connsiteY4" fmla="*/ 1253407 h 1387695"/>
                <a:gd name="connsiteX5" fmla="*/ 491710 w 631119"/>
                <a:gd name="connsiteY5" fmla="*/ 1388848 h 1387695"/>
                <a:gd name="connsiteX6" fmla="*/ 351276 w 631119"/>
                <a:gd name="connsiteY6" fmla="*/ 1253407 h 1387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1119" h="1387695">
                  <a:moveTo>
                    <a:pt x="386353" y="0"/>
                  </a:moveTo>
                  <a:lnTo>
                    <a:pt x="386353" y="180503"/>
                  </a:lnTo>
                  <a:cubicBezTo>
                    <a:pt x="165397" y="227101"/>
                    <a:pt x="0" y="416565"/>
                    <a:pt x="0" y="643537"/>
                  </a:cubicBezTo>
                  <a:cubicBezTo>
                    <a:pt x="0" y="905459"/>
                    <a:pt x="220188" y="1117837"/>
                    <a:pt x="491710" y="1117837"/>
                  </a:cubicBezTo>
                  <a:cubicBezTo>
                    <a:pt x="569288" y="1117837"/>
                    <a:pt x="632144" y="1178517"/>
                    <a:pt x="632144" y="1253407"/>
                  </a:cubicBezTo>
                  <a:cubicBezTo>
                    <a:pt x="632144" y="1328168"/>
                    <a:pt x="569288" y="1388848"/>
                    <a:pt x="491710" y="1388848"/>
                  </a:cubicBezTo>
                  <a:cubicBezTo>
                    <a:pt x="414132" y="1388848"/>
                    <a:pt x="351276" y="1328168"/>
                    <a:pt x="351276" y="1253407"/>
                  </a:cubicBezTo>
                </a:path>
              </a:pathLst>
            </a:custGeom>
            <a:noFill/>
            <a:ln w="12700" cap="rnd">
              <a:solidFill>
                <a:schemeClr val="bg1">
                  <a:alpha val="2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lvl="0"/>
              <a:endParaRPr lang="en-US" sz="3200" dirty="0"/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D5CFECA9-4775-4BA8-886F-F0968FCE3D7D}"/>
                </a:ext>
              </a:extLst>
            </p:cNvPr>
            <p:cNvSpPr/>
            <p:nvPr/>
          </p:nvSpPr>
          <p:spPr>
            <a:xfrm>
              <a:off x="677863" y="546699"/>
              <a:ext cx="631120" cy="1319847"/>
            </a:xfrm>
            <a:custGeom>
              <a:avLst/>
              <a:gdLst>
                <a:gd name="connsiteX0" fmla="*/ 386353 w 631119"/>
                <a:gd name="connsiteY0" fmla="*/ 0 h 1319846"/>
                <a:gd name="connsiteX1" fmla="*/ 386353 w 631119"/>
                <a:gd name="connsiteY1" fmla="*/ 129040 h 1319846"/>
                <a:gd name="connsiteX2" fmla="*/ 386353 w 631119"/>
                <a:gd name="connsiteY2" fmla="*/ 129040 h 1319846"/>
                <a:gd name="connsiteX3" fmla="*/ 0 w 631119"/>
                <a:gd name="connsiteY3" fmla="*/ 643537 h 1319846"/>
                <a:gd name="connsiteX4" fmla="*/ 561991 w 631119"/>
                <a:gd name="connsiteY4" fmla="*/ 1185558 h 1319846"/>
                <a:gd name="connsiteX5" fmla="*/ 632272 w 631119"/>
                <a:gd name="connsiteY5" fmla="*/ 1253279 h 1319846"/>
                <a:gd name="connsiteX6" fmla="*/ 561991 w 631119"/>
                <a:gd name="connsiteY6" fmla="*/ 1320999 h 1319846"/>
                <a:gd name="connsiteX7" fmla="*/ 491710 w 631119"/>
                <a:gd name="connsiteY7" fmla="*/ 1253279 h 131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1119" h="1319846">
                  <a:moveTo>
                    <a:pt x="386353" y="0"/>
                  </a:moveTo>
                  <a:lnTo>
                    <a:pt x="386353" y="129040"/>
                  </a:lnTo>
                  <a:lnTo>
                    <a:pt x="386353" y="129040"/>
                  </a:lnTo>
                  <a:cubicBezTo>
                    <a:pt x="162069" y="200089"/>
                    <a:pt x="0" y="403507"/>
                    <a:pt x="0" y="643537"/>
                  </a:cubicBezTo>
                  <a:cubicBezTo>
                    <a:pt x="0" y="942839"/>
                    <a:pt x="251552" y="1185558"/>
                    <a:pt x="561991" y="1185558"/>
                  </a:cubicBezTo>
                  <a:cubicBezTo>
                    <a:pt x="600780" y="1185558"/>
                    <a:pt x="632272" y="1215898"/>
                    <a:pt x="632272" y="1253279"/>
                  </a:cubicBezTo>
                  <a:cubicBezTo>
                    <a:pt x="632272" y="1290659"/>
                    <a:pt x="600780" y="1320999"/>
                    <a:pt x="561991" y="1320999"/>
                  </a:cubicBezTo>
                  <a:cubicBezTo>
                    <a:pt x="523202" y="1320999"/>
                    <a:pt x="491710" y="1290659"/>
                    <a:pt x="491710" y="1253279"/>
                  </a:cubicBezTo>
                </a:path>
              </a:pathLst>
            </a:custGeom>
            <a:noFill/>
            <a:ln w="12700" cap="rnd">
              <a:solidFill>
                <a:schemeClr val="bg1">
                  <a:alpha val="2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lvl="0"/>
              <a:endParaRPr lang="en-US" sz="3200" dirty="0"/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82204057-7E03-4ACE-832F-2AF07A666F0B}"/>
                </a:ext>
              </a:extLst>
            </p:cNvPr>
            <p:cNvSpPr/>
            <p:nvPr/>
          </p:nvSpPr>
          <p:spPr>
            <a:xfrm>
              <a:off x="1099421" y="1054795"/>
              <a:ext cx="631120" cy="1387696"/>
            </a:xfrm>
            <a:custGeom>
              <a:avLst/>
              <a:gdLst>
                <a:gd name="connsiteX0" fmla="*/ 245791 w 631119"/>
                <a:gd name="connsiteY0" fmla="*/ 1388848 h 1387695"/>
                <a:gd name="connsiteX1" fmla="*/ 245791 w 631119"/>
                <a:gd name="connsiteY1" fmla="*/ 1208345 h 1387695"/>
                <a:gd name="connsiteX2" fmla="*/ 632144 w 631119"/>
                <a:gd name="connsiteY2" fmla="*/ 745310 h 1387695"/>
                <a:gd name="connsiteX3" fmla="*/ 140434 w 631119"/>
                <a:gd name="connsiteY3" fmla="*/ 271010 h 1387695"/>
                <a:gd name="connsiteX4" fmla="*/ 0 w 631119"/>
                <a:gd name="connsiteY4" fmla="*/ 135441 h 1387695"/>
                <a:gd name="connsiteX5" fmla="*/ 140434 w 631119"/>
                <a:gd name="connsiteY5" fmla="*/ 0 h 1387695"/>
                <a:gd name="connsiteX6" fmla="*/ 280868 w 631119"/>
                <a:gd name="connsiteY6" fmla="*/ 135441 h 1387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1119" h="1387695">
                  <a:moveTo>
                    <a:pt x="245791" y="1388848"/>
                  </a:moveTo>
                  <a:lnTo>
                    <a:pt x="245791" y="1208345"/>
                  </a:lnTo>
                  <a:cubicBezTo>
                    <a:pt x="466619" y="1161747"/>
                    <a:pt x="632144" y="972283"/>
                    <a:pt x="632144" y="745310"/>
                  </a:cubicBezTo>
                  <a:cubicBezTo>
                    <a:pt x="632144" y="483389"/>
                    <a:pt x="411956" y="271010"/>
                    <a:pt x="140434" y="271010"/>
                  </a:cubicBezTo>
                  <a:cubicBezTo>
                    <a:pt x="62856" y="271010"/>
                    <a:pt x="0" y="210331"/>
                    <a:pt x="0" y="135441"/>
                  </a:cubicBezTo>
                  <a:cubicBezTo>
                    <a:pt x="0" y="60680"/>
                    <a:pt x="62856" y="0"/>
                    <a:pt x="140434" y="0"/>
                  </a:cubicBezTo>
                  <a:cubicBezTo>
                    <a:pt x="218012" y="0"/>
                    <a:pt x="280868" y="60680"/>
                    <a:pt x="280868" y="135441"/>
                  </a:cubicBezTo>
                </a:path>
              </a:pathLst>
            </a:custGeom>
            <a:noFill/>
            <a:ln w="12700" cap="rnd">
              <a:solidFill>
                <a:schemeClr val="bg1">
                  <a:alpha val="2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lvl="0"/>
              <a:endParaRPr lang="en-US" sz="3200" dirty="0"/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DE4E27E0-6DB1-48CE-B828-D5706C77E587}"/>
                </a:ext>
              </a:extLst>
            </p:cNvPr>
            <p:cNvSpPr/>
            <p:nvPr/>
          </p:nvSpPr>
          <p:spPr>
            <a:xfrm>
              <a:off x="748144" y="1800106"/>
              <a:ext cx="385329" cy="642641"/>
            </a:xfrm>
            <a:custGeom>
              <a:avLst/>
              <a:gdLst>
                <a:gd name="connsiteX0" fmla="*/ 0 w 385328"/>
                <a:gd name="connsiteY0" fmla="*/ 0 h 642641"/>
                <a:gd name="connsiteX1" fmla="*/ 386353 w 385328"/>
                <a:gd name="connsiteY1" fmla="*/ 463035 h 642641"/>
                <a:gd name="connsiteX2" fmla="*/ 386353 w 385328"/>
                <a:gd name="connsiteY2" fmla="*/ 643538 h 64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5328" h="642641">
                  <a:moveTo>
                    <a:pt x="0" y="0"/>
                  </a:moveTo>
                  <a:cubicBezTo>
                    <a:pt x="0" y="226973"/>
                    <a:pt x="165525" y="416437"/>
                    <a:pt x="386353" y="463035"/>
                  </a:cubicBezTo>
                  <a:lnTo>
                    <a:pt x="386353" y="643538"/>
                  </a:lnTo>
                </a:path>
              </a:pathLst>
            </a:custGeom>
            <a:noFill/>
            <a:ln w="12700" cap="rnd">
              <a:solidFill>
                <a:schemeClr val="bg1">
                  <a:alpha val="2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lvl="0"/>
              <a:endParaRPr lang="en-US" sz="3200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139B70C8-C535-4988-A168-7F6E3D1C1BA0}"/>
                </a:ext>
              </a:extLst>
            </p:cNvPr>
            <p:cNvSpPr/>
            <p:nvPr/>
          </p:nvSpPr>
          <p:spPr>
            <a:xfrm>
              <a:off x="1169574" y="1122644"/>
              <a:ext cx="631120" cy="1319847"/>
            </a:xfrm>
            <a:custGeom>
              <a:avLst/>
              <a:gdLst>
                <a:gd name="connsiteX0" fmla="*/ 245919 w 631119"/>
                <a:gd name="connsiteY0" fmla="*/ 1320999 h 1319846"/>
                <a:gd name="connsiteX1" fmla="*/ 245919 w 631119"/>
                <a:gd name="connsiteY1" fmla="*/ 1191959 h 1319846"/>
                <a:gd name="connsiteX2" fmla="*/ 632272 w 631119"/>
                <a:gd name="connsiteY2" fmla="*/ 677462 h 1319846"/>
                <a:gd name="connsiteX3" fmla="*/ 70281 w 631119"/>
                <a:gd name="connsiteY3" fmla="*/ 135441 h 1319846"/>
                <a:gd name="connsiteX4" fmla="*/ 0 w 631119"/>
                <a:gd name="connsiteY4" fmla="*/ 67721 h 1319846"/>
                <a:gd name="connsiteX5" fmla="*/ 70281 w 631119"/>
                <a:gd name="connsiteY5" fmla="*/ 0 h 1319846"/>
                <a:gd name="connsiteX6" fmla="*/ 140562 w 631119"/>
                <a:gd name="connsiteY6" fmla="*/ 67721 h 1319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1119" h="1319846">
                  <a:moveTo>
                    <a:pt x="245919" y="1320999"/>
                  </a:moveTo>
                  <a:lnTo>
                    <a:pt x="245919" y="1191959"/>
                  </a:lnTo>
                  <a:cubicBezTo>
                    <a:pt x="470204" y="1120782"/>
                    <a:pt x="632272" y="917492"/>
                    <a:pt x="632272" y="677462"/>
                  </a:cubicBezTo>
                  <a:cubicBezTo>
                    <a:pt x="632272" y="378160"/>
                    <a:pt x="380720" y="135441"/>
                    <a:pt x="70281" y="135441"/>
                  </a:cubicBezTo>
                  <a:cubicBezTo>
                    <a:pt x="31492" y="135441"/>
                    <a:pt x="0" y="105101"/>
                    <a:pt x="0" y="67721"/>
                  </a:cubicBezTo>
                  <a:cubicBezTo>
                    <a:pt x="0" y="30340"/>
                    <a:pt x="31492" y="0"/>
                    <a:pt x="70281" y="0"/>
                  </a:cubicBezTo>
                  <a:cubicBezTo>
                    <a:pt x="109070" y="0"/>
                    <a:pt x="140562" y="30340"/>
                    <a:pt x="140562" y="67721"/>
                  </a:cubicBezTo>
                </a:path>
              </a:pathLst>
            </a:custGeom>
            <a:noFill/>
            <a:ln w="12700" cap="rnd">
              <a:solidFill>
                <a:schemeClr val="bg1">
                  <a:alpha val="2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lvl="0"/>
              <a:endParaRPr lang="en-US" sz="3200" dirty="0"/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380B459D-FB91-4C29-83DA-F675CA305A07}"/>
                </a:ext>
              </a:extLst>
            </p:cNvPr>
            <p:cNvSpPr/>
            <p:nvPr/>
          </p:nvSpPr>
          <p:spPr>
            <a:xfrm>
              <a:off x="677863" y="1800106"/>
              <a:ext cx="385329" cy="642641"/>
            </a:xfrm>
            <a:custGeom>
              <a:avLst/>
              <a:gdLst>
                <a:gd name="connsiteX0" fmla="*/ 0 w 385328"/>
                <a:gd name="connsiteY0" fmla="*/ 0 h 642641"/>
                <a:gd name="connsiteX1" fmla="*/ 386353 w 385328"/>
                <a:gd name="connsiteY1" fmla="*/ 514497 h 642641"/>
                <a:gd name="connsiteX2" fmla="*/ 386353 w 385328"/>
                <a:gd name="connsiteY2" fmla="*/ 643409 h 64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5328" h="642641">
                  <a:moveTo>
                    <a:pt x="0" y="0"/>
                  </a:moveTo>
                  <a:cubicBezTo>
                    <a:pt x="0" y="240030"/>
                    <a:pt x="162069" y="443448"/>
                    <a:pt x="386353" y="514497"/>
                  </a:cubicBezTo>
                  <a:lnTo>
                    <a:pt x="386353" y="643409"/>
                  </a:lnTo>
                </a:path>
              </a:pathLst>
            </a:custGeom>
            <a:noFill/>
            <a:ln w="12700" cap="rnd">
              <a:solidFill>
                <a:schemeClr val="bg1">
                  <a:alpha val="2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lvl="0"/>
              <a:endParaRPr lang="en-US" sz="3200" dirty="0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285F4084-7505-444D-86D3-586A919EC3A2}"/>
                </a:ext>
              </a:extLst>
            </p:cNvPr>
            <p:cNvSpPr/>
            <p:nvPr/>
          </p:nvSpPr>
          <p:spPr>
            <a:xfrm>
              <a:off x="1029140" y="987203"/>
              <a:ext cx="631120" cy="1455544"/>
            </a:xfrm>
            <a:custGeom>
              <a:avLst/>
              <a:gdLst>
                <a:gd name="connsiteX0" fmla="*/ 245791 w 631119"/>
                <a:gd name="connsiteY0" fmla="*/ 1456440 h 1455544"/>
                <a:gd name="connsiteX1" fmla="*/ 245791 w 631119"/>
                <a:gd name="connsiteY1" fmla="*/ 1217690 h 1455544"/>
                <a:gd name="connsiteX2" fmla="*/ 632144 w 631119"/>
                <a:gd name="connsiteY2" fmla="*/ 812903 h 1455544"/>
                <a:gd name="connsiteX3" fmla="*/ 210715 w 631119"/>
                <a:gd name="connsiteY3" fmla="*/ 406451 h 1455544"/>
                <a:gd name="connsiteX4" fmla="*/ 0 w 631119"/>
                <a:gd name="connsiteY4" fmla="*/ 203162 h 1455544"/>
                <a:gd name="connsiteX5" fmla="*/ 210715 w 631119"/>
                <a:gd name="connsiteY5" fmla="*/ 0 h 1455544"/>
                <a:gd name="connsiteX6" fmla="*/ 421429 w 631119"/>
                <a:gd name="connsiteY6" fmla="*/ 203162 h 1455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1119" h="1455544">
                  <a:moveTo>
                    <a:pt x="245791" y="1456440"/>
                  </a:moveTo>
                  <a:lnTo>
                    <a:pt x="245791" y="1217690"/>
                  </a:lnTo>
                  <a:cubicBezTo>
                    <a:pt x="462139" y="1200408"/>
                    <a:pt x="632144" y="1026050"/>
                    <a:pt x="632144" y="812903"/>
                  </a:cubicBezTo>
                  <a:cubicBezTo>
                    <a:pt x="632144" y="588490"/>
                    <a:pt x="443448" y="406451"/>
                    <a:pt x="210715" y="406451"/>
                  </a:cubicBezTo>
                  <a:cubicBezTo>
                    <a:pt x="94348" y="406451"/>
                    <a:pt x="0" y="315432"/>
                    <a:pt x="0" y="203162"/>
                  </a:cubicBezTo>
                  <a:cubicBezTo>
                    <a:pt x="0" y="90892"/>
                    <a:pt x="94348" y="0"/>
                    <a:pt x="210715" y="0"/>
                  </a:cubicBezTo>
                  <a:cubicBezTo>
                    <a:pt x="327081" y="0"/>
                    <a:pt x="421429" y="91020"/>
                    <a:pt x="421429" y="203162"/>
                  </a:cubicBezTo>
                </a:path>
              </a:pathLst>
            </a:custGeom>
            <a:noFill/>
            <a:ln w="12700" cap="rnd">
              <a:solidFill>
                <a:schemeClr val="bg1">
                  <a:alpha val="2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lvl="0"/>
              <a:endParaRPr lang="en-US" sz="3200" dirty="0"/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28743DBE-012C-467C-BA3A-6BECEF3639AD}"/>
                </a:ext>
              </a:extLst>
            </p:cNvPr>
            <p:cNvSpPr/>
            <p:nvPr/>
          </p:nvSpPr>
          <p:spPr>
            <a:xfrm>
              <a:off x="818297" y="1800106"/>
              <a:ext cx="385329" cy="642641"/>
            </a:xfrm>
            <a:custGeom>
              <a:avLst/>
              <a:gdLst>
                <a:gd name="connsiteX0" fmla="*/ 0 w 385328"/>
                <a:gd name="connsiteY0" fmla="*/ 0 h 642641"/>
                <a:gd name="connsiteX1" fmla="*/ 386353 w 385328"/>
                <a:gd name="connsiteY1" fmla="*/ 404787 h 642641"/>
                <a:gd name="connsiteX2" fmla="*/ 386353 w 385328"/>
                <a:gd name="connsiteY2" fmla="*/ 643538 h 64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5328" h="642641">
                  <a:moveTo>
                    <a:pt x="0" y="0"/>
                  </a:moveTo>
                  <a:cubicBezTo>
                    <a:pt x="0" y="213019"/>
                    <a:pt x="170006" y="387505"/>
                    <a:pt x="386353" y="404787"/>
                  </a:cubicBezTo>
                  <a:lnTo>
                    <a:pt x="386353" y="643538"/>
                  </a:lnTo>
                </a:path>
              </a:pathLst>
            </a:custGeom>
            <a:noFill/>
            <a:ln w="12700" cap="rnd">
              <a:solidFill>
                <a:schemeClr val="bg1">
                  <a:alpha val="20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pPr lvl="0"/>
              <a:endParaRPr lang="en-US" sz="3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696456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6.25E-7 4.44444E-6 L 6.25E-7 0.05162 " pathEditMode="relative" rAng="0" ptsTypes="AA">
                                      <p:cBhvr>
                                        <p:cTn id="12" dur="750" spd="-100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69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  <p:bldP spid="3" grpId="1" build="p"/>
      <p:bldP spid="4" grpId="0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E59EF632-3D4F-4945-900D-D4D867CF7E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03788" y="0"/>
            <a:ext cx="7088212" cy="6858000"/>
          </a:xfrm>
          <a:custGeom>
            <a:avLst/>
            <a:gdLst>
              <a:gd name="connsiteX0" fmla="*/ 7088212 w 7088212"/>
              <a:gd name="connsiteY0" fmla="*/ 2316551 h 6858000"/>
              <a:gd name="connsiteX1" fmla="*/ 7088212 w 7088212"/>
              <a:gd name="connsiteY1" fmla="*/ 3270182 h 6858000"/>
              <a:gd name="connsiteX2" fmla="*/ 7088212 w 7088212"/>
              <a:gd name="connsiteY2" fmla="*/ 3597980 h 6858000"/>
              <a:gd name="connsiteX3" fmla="*/ 7088212 w 7088212"/>
              <a:gd name="connsiteY3" fmla="*/ 4546633 h 6858000"/>
              <a:gd name="connsiteX4" fmla="*/ 6546184 w 7088212"/>
              <a:gd name="connsiteY4" fmla="*/ 3434544 h 6858000"/>
              <a:gd name="connsiteX5" fmla="*/ 7088212 w 7088212"/>
              <a:gd name="connsiteY5" fmla="*/ 1297052 h 6858000"/>
              <a:gd name="connsiteX6" fmla="*/ 7088212 w 7088212"/>
              <a:gd name="connsiteY6" fmla="*/ 2251081 h 6858000"/>
              <a:gd name="connsiteX7" fmla="*/ 6514644 w 7088212"/>
              <a:gd name="connsiteY7" fmla="*/ 3434545 h 6858000"/>
              <a:gd name="connsiteX8" fmla="*/ 7088212 w 7088212"/>
              <a:gd name="connsiteY8" fmla="*/ 4611344 h 6858000"/>
              <a:gd name="connsiteX9" fmla="*/ 7088212 w 7088212"/>
              <a:gd name="connsiteY9" fmla="*/ 5559997 h 6858000"/>
              <a:gd name="connsiteX10" fmla="*/ 6052274 w 7088212"/>
              <a:gd name="connsiteY10" fmla="*/ 3434545 h 6858000"/>
              <a:gd name="connsiteX11" fmla="*/ 7088212 w 7088212"/>
              <a:gd name="connsiteY11" fmla="*/ 286451 h 6858000"/>
              <a:gd name="connsiteX12" fmla="*/ 7088212 w 7088212"/>
              <a:gd name="connsiteY12" fmla="*/ 1223092 h 6858000"/>
              <a:gd name="connsiteX13" fmla="*/ 6016431 w 7088212"/>
              <a:gd name="connsiteY13" fmla="*/ 3434543 h 6858000"/>
              <a:gd name="connsiteX14" fmla="*/ 7088212 w 7088212"/>
              <a:gd name="connsiteY14" fmla="*/ 5633535 h 6858000"/>
              <a:gd name="connsiteX15" fmla="*/ 7088212 w 7088212"/>
              <a:gd name="connsiteY15" fmla="*/ 6566009 h 6858000"/>
              <a:gd name="connsiteX16" fmla="*/ 5561946 w 7088212"/>
              <a:gd name="connsiteY16" fmla="*/ 3434543 h 6858000"/>
              <a:gd name="connsiteX17" fmla="*/ 6736761 w 7088212"/>
              <a:gd name="connsiteY17" fmla="*/ 1 h 6858000"/>
              <a:gd name="connsiteX18" fmla="*/ 7088212 w 7088212"/>
              <a:gd name="connsiteY18" fmla="*/ 1 h 6858000"/>
              <a:gd name="connsiteX19" fmla="*/ 7088212 w 7088212"/>
              <a:gd name="connsiteY19" fmla="*/ 195109 h 6858000"/>
              <a:gd name="connsiteX20" fmla="*/ 5518218 w 7088212"/>
              <a:gd name="connsiteY20" fmla="*/ 3434542 h 6858000"/>
              <a:gd name="connsiteX21" fmla="*/ 7088212 w 7088212"/>
              <a:gd name="connsiteY21" fmla="*/ 6655729 h 6858000"/>
              <a:gd name="connsiteX22" fmla="*/ 7088212 w 7088212"/>
              <a:gd name="connsiteY22" fmla="*/ 6858000 h 6858000"/>
              <a:gd name="connsiteX23" fmla="*/ 6740201 w 7088212"/>
              <a:gd name="connsiteY23" fmla="*/ 6858000 h 6858000"/>
              <a:gd name="connsiteX24" fmla="*/ 5071618 w 7088212"/>
              <a:gd name="connsiteY24" fmla="*/ 3434542 h 6858000"/>
              <a:gd name="connsiteX25" fmla="*/ 6238549 w 7088212"/>
              <a:gd name="connsiteY25" fmla="*/ 1 h 6858000"/>
              <a:gd name="connsiteX26" fmla="*/ 6692444 w 7088212"/>
              <a:gd name="connsiteY26" fmla="*/ 1 h 6858000"/>
              <a:gd name="connsiteX27" fmla="*/ 5027891 w 7088212"/>
              <a:gd name="connsiteY27" fmla="*/ 3434542 h 6858000"/>
              <a:gd name="connsiteX28" fmla="*/ 6696474 w 7088212"/>
              <a:gd name="connsiteY28" fmla="*/ 6858000 h 6858000"/>
              <a:gd name="connsiteX29" fmla="*/ 6241989 w 7088212"/>
              <a:gd name="connsiteY29" fmla="*/ 6858000 h 6858000"/>
              <a:gd name="connsiteX30" fmla="*/ 4573406 w 7088212"/>
              <a:gd name="connsiteY30" fmla="*/ 3434542 h 6858000"/>
              <a:gd name="connsiteX31" fmla="*/ 5748221 w 7088212"/>
              <a:gd name="connsiteY31" fmla="*/ 1 h 6858000"/>
              <a:gd name="connsiteX32" fmla="*/ 6194231 w 7088212"/>
              <a:gd name="connsiteY32" fmla="*/ 1 h 6858000"/>
              <a:gd name="connsiteX33" fmla="*/ 4529678 w 7088212"/>
              <a:gd name="connsiteY33" fmla="*/ 3434542 h 6858000"/>
              <a:gd name="connsiteX34" fmla="*/ 6198261 w 7088212"/>
              <a:gd name="connsiteY34" fmla="*/ 6858000 h 6858000"/>
              <a:gd name="connsiteX35" fmla="*/ 5751661 w 7088212"/>
              <a:gd name="connsiteY35" fmla="*/ 6858000 h 6858000"/>
              <a:gd name="connsiteX36" fmla="*/ 4083078 w 7088212"/>
              <a:gd name="connsiteY36" fmla="*/ 3434542 h 6858000"/>
              <a:gd name="connsiteX37" fmla="*/ 5257893 w 7088212"/>
              <a:gd name="connsiteY37" fmla="*/ 1 h 6858000"/>
              <a:gd name="connsiteX38" fmla="*/ 5696019 w 7088212"/>
              <a:gd name="connsiteY38" fmla="*/ 1 h 6858000"/>
              <a:gd name="connsiteX39" fmla="*/ 4031465 w 7088212"/>
              <a:gd name="connsiteY39" fmla="*/ 3434542 h 6858000"/>
              <a:gd name="connsiteX40" fmla="*/ 5700048 w 7088212"/>
              <a:gd name="connsiteY40" fmla="*/ 6858000 h 6858000"/>
              <a:gd name="connsiteX41" fmla="*/ 5261334 w 7088212"/>
              <a:gd name="connsiteY41" fmla="*/ 6858000 h 6858000"/>
              <a:gd name="connsiteX42" fmla="*/ 3592751 w 7088212"/>
              <a:gd name="connsiteY42" fmla="*/ 3434542 h 6858000"/>
              <a:gd name="connsiteX43" fmla="*/ 4787634 w 7088212"/>
              <a:gd name="connsiteY43" fmla="*/ 1 h 6858000"/>
              <a:gd name="connsiteX44" fmla="*/ 5178319 w 7088212"/>
              <a:gd name="connsiteY44" fmla="*/ 1 h 6858000"/>
              <a:gd name="connsiteX45" fmla="*/ 3513176 w 7088212"/>
              <a:gd name="connsiteY45" fmla="*/ 3434542 h 6858000"/>
              <a:gd name="connsiteX46" fmla="*/ 5182449 w 7088212"/>
              <a:gd name="connsiteY46" fmla="*/ 6858000 h 6858000"/>
              <a:gd name="connsiteX47" fmla="*/ 4791074 w 7088212"/>
              <a:gd name="connsiteY47" fmla="*/ 6858000 h 6858000"/>
              <a:gd name="connsiteX48" fmla="*/ 3122491 w 7088212"/>
              <a:gd name="connsiteY48" fmla="*/ 3434542 h 6858000"/>
              <a:gd name="connsiteX49" fmla="*/ 4309493 w 7088212"/>
              <a:gd name="connsiteY49" fmla="*/ 1 h 6858000"/>
              <a:gd name="connsiteX50" fmla="*/ 4668049 w 7088212"/>
              <a:gd name="connsiteY50" fmla="*/ 1 h 6858000"/>
              <a:gd name="connsiteX51" fmla="*/ 3003495 w 7088212"/>
              <a:gd name="connsiteY51" fmla="*/ 3434542 h 6858000"/>
              <a:gd name="connsiteX52" fmla="*/ 4672078 w 7088212"/>
              <a:gd name="connsiteY52" fmla="*/ 6858000 h 6858000"/>
              <a:gd name="connsiteX53" fmla="*/ 4312934 w 7088212"/>
              <a:gd name="connsiteY53" fmla="*/ 6858000 h 6858000"/>
              <a:gd name="connsiteX54" fmla="*/ 2644351 w 7088212"/>
              <a:gd name="connsiteY54" fmla="*/ 3434542 h 6858000"/>
              <a:gd name="connsiteX55" fmla="*/ 3827179 w 7088212"/>
              <a:gd name="connsiteY55" fmla="*/ 1 h 6858000"/>
              <a:gd name="connsiteX56" fmla="*/ 4161821 w 7088212"/>
              <a:gd name="connsiteY56" fmla="*/ 1 h 6858000"/>
              <a:gd name="connsiteX57" fmla="*/ 2496679 w 7088212"/>
              <a:gd name="connsiteY57" fmla="*/ 3434542 h 6858000"/>
              <a:gd name="connsiteX58" fmla="*/ 4165951 w 7088212"/>
              <a:gd name="connsiteY58" fmla="*/ 6858000 h 6858000"/>
              <a:gd name="connsiteX59" fmla="*/ 3831208 w 7088212"/>
              <a:gd name="connsiteY59" fmla="*/ 6858000 h 6858000"/>
              <a:gd name="connsiteX60" fmla="*/ 2162625 w 7088212"/>
              <a:gd name="connsiteY60" fmla="*/ 3434542 h 6858000"/>
              <a:gd name="connsiteX61" fmla="*/ 3396278 w 7088212"/>
              <a:gd name="connsiteY61" fmla="*/ 1 h 6858000"/>
              <a:gd name="connsiteX62" fmla="*/ 3658775 w 7088212"/>
              <a:gd name="connsiteY62" fmla="*/ 1 h 6858000"/>
              <a:gd name="connsiteX63" fmla="*/ 1994222 w 7088212"/>
              <a:gd name="connsiteY63" fmla="*/ 3434542 h 6858000"/>
              <a:gd name="connsiteX64" fmla="*/ 3662804 w 7088212"/>
              <a:gd name="connsiteY64" fmla="*/ 6858000 h 6858000"/>
              <a:gd name="connsiteX65" fmla="*/ 3399719 w 7088212"/>
              <a:gd name="connsiteY65" fmla="*/ 6858000 h 6858000"/>
              <a:gd name="connsiteX66" fmla="*/ 1731136 w 7088212"/>
              <a:gd name="connsiteY66" fmla="*/ 3434542 h 6858000"/>
              <a:gd name="connsiteX67" fmla="*/ 2965904 w 7088212"/>
              <a:gd name="connsiteY67" fmla="*/ 0 h 6858000"/>
              <a:gd name="connsiteX68" fmla="*/ 3196732 w 7088212"/>
              <a:gd name="connsiteY68" fmla="*/ 0 h 6858000"/>
              <a:gd name="connsiteX69" fmla="*/ 1531590 w 7088212"/>
              <a:gd name="connsiteY69" fmla="*/ 3434542 h 6858000"/>
              <a:gd name="connsiteX70" fmla="*/ 3200863 w 7088212"/>
              <a:gd name="connsiteY70" fmla="*/ 6858000 h 6858000"/>
              <a:gd name="connsiteX71" fmla="*/ 2969345 w 7088212"/>
              <a:gd name="connsiteY71" fmla="*/ 6858000 h 6858000"/>
              <a:gd name="connsiteX72" fmla="*/ 1300762 w 7088212"/>
              <a:gd name="connsiteY72" fmla="*/ 3434542 h 6858000"/>
              <a:gd name="connsiteX73" fmla="*/ 2506592 w 7088212"/>
              <a:gd name="connsiteY73" fmla="*/ 0 h 6858000"/>
              <a:gd name="connsiteX74" fmla="*/ 2690136 w 7088212"/>
              <a:gd name="connsiteY74" fmla="*/ 0 h 6858000"/>
              <a:gd name="connsiteX75" fmla="*/ 1025582 w 7088212"/>
              <a:gd name="connsiteY75" fmla="*/ 3434542 h 6858000"/>
              <a:gd name="connsiteX76" fmla="*/ 2694165 w 7088212"/>
              <a:gd name="connsiteY76" fmla="*/ 6858000 h 6858000"/>
              <a:gd name="connsiteX77" fmla="*/ 2510651 w 7088212"/>
              <a:gd name="connsiteY77" fmla="*/ 6858000 h 6858000"/>
              <a:gd name="connsiteX78" fmla="*/ 842068 w 7088212"/>
              <a:gd name="connsiteY78" fmla="*/ 3434542 h 6858000"/>
              <a:gd name="connsiteX79" fmla="*/ 859272 w 7088212"/>
              <a:gd name="connsiteY79" fmla="*/ 3398698 h 6858000"/>
              <a:gd name="connsiteX80" fmla="*/ 2066862 w 7088212"/>
              <a:gd name="connsiteY80" fmla="*/ 0 h 6858000"/>
              <a:gd name="connsiteX81" fmla="*/ 2178634 w 7088212"/>
              <a:gd name="connsiteY81" fmla="*/ 0 h 6858000"/>
              <a:gd name="connsiteX82" fmla="*/ 513490 w 7088212"/>
              <a:gd name="connsiteY82" fmla="*/ 3434542 h 6858000"/>
              <a:gd name="connsiteX83" fmla="*/ 2182763 w 7088212"/>
              <a:gd name="connsiteY83" fmla="*/ 6858000 h 6858000"/>
              <a:gd name="connsiteX84" fmla="*/ 2070961 w 7088212"/>
              <a:gd name="connsiteY84" fmla="*/ 6858000 h 6858000"/>
              <a:gd name="connsiteX85" fmla="*/ 402378 w 7088212"/>
              <a:gd name="connsiteY85" fmla="*/ 3434542 h 6858000"/>
              <a:gd name="connsiteX86" fmla="*/ 412414 w 7088212"/>
              <a:gd name="connsiteY86" fmla="*/ 3413036 h 6858000"/>
              <a:gd name="connsiteX87" fmla="*/ 1664655 w 7088212"/>
              <a:gd name="connsiteY87" fmla="*/ 0 h 6858000"/>
              <a:gd name="connsiteX88" fmla="*/ 1736238 w 7088212"/>
              <a:gd name="connsiteY88" fmla="*/ 0 h 6858000"/>
              <a:gd name="connsiteX89" fmla="*/ 71684 w 7088212"/>
              <a:gd name="connsiteY89" fmla="*/ 3434542 h 6858000"/>
              <a:gd name="connsiteX90" fmla="*/ 1740267 w 7088212"/>
              <a:gd name="connsiteY90" fmla="*/ 6858000 h 6858000"/>
              <a:gd name="connsiteX91" fmla="*/ 1668582 w 7088212"/>
              <a:gd name="connsiteY91" fmla="*/ 6858000 h 6858000"/>
              <a:gd name="connsiteX92" fmla="*/ 0 w 7088212"/>
              <a:gd name="connsiteY92" fmla="*/ 3434545 h 6858000"/>
              <a:gd name="connsiteX93" fmla="*/ 0 w 7088212"/>
              <a:gd name="connsiteY93" fmla="*/ 3434539 h 6858000"/>
              <a:gd name="connsiteX94" fmla="*/ 7167 w 7088212"/>
              <a:gd name="connsiteY94" fmla="*/ 34209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7088212" h="6858000">
                <a:moveTo>
                  <a:pt x="7088212" y="2316551"/>
                </a:moveTo>
                <a:lnTo>
                  <a:pt x="7088212" y="3270182"/>
                </a:lnTo>
                <a:lnTo>
                  <a:pt x="7088212" y="3597980"/>
                </a:lnTo>
                <a:lnTo>
                  <a:pt x="7088212" y="4546633"/>
                </a:lnTo>
                <a:lnTo>
                  <a:pt x="6546184" y="3434544"/>
                </a:lnTo>
                <a:close/>
                <a:moveTo>
                  <a:pt x="7088212" y="1297052"/>
                </a:moveTo>
                <a:lnTo>
                  <a:pt x="7088212" y="2251081"/>
                </a:lnTo>
                <a:lnTo>
                  <a:pt x="6514644" y="3434545"/>
                </a:lnTo>
                <a:lnTo>
                  <a:pt x="7088212" y="4611344"/>
                </a:lnTo>
                <a:lnTo>
                  <a:pt x="7088212" y="5559997"/>
                </a:lnTo>
                <a:lnTo>
                  <a:pt x="6052274" y="3434545"/>
                </a:lnTo>
                <a:close/>
                <a:moveTo>
                  <a:pt x="7088212" y="286451"/>
                </a:moveTo>
                <a:lnTo>
                  <a:pt x="7088212" y="1223092"/>
                </a:lnTo>
                <a:lnTo>
                  <a:pt x="6016431" y="3434543"/>
                </a:lnTo>
                <a:lnTo>
                  <a:pt x="7088212" y="5633535"/>
                </a:lnTo>
                <a:lnTo>
                  <a:pt x="7088212" y="6566009"/>
                </a:lnTo>
                <a:lnTo>
                  <a:pt x="5561946" y="3434543"/>
                </a:lnTo>
                <a:close/>
                <a:moveTo>
                  <a:pt x="6736761" y="1"/>
                </a:moveTo>
                <a:lnTo>
                  <a:pt x="7088212" y="1"/>
                </a:lnTo>
                <a:lnTo>
                  <a:pt x="7088212" y="195109"/>
                </a:lnTo>
                <a:lnTo>
                  <a:pt x="5518218" y="3434542"/>
                </a:lnTo>
                <a:lnTo>
                  <a:pt x="7088212" y="6655729"/>
                </a:lnTo>
                <a:lnTo>
                  <a:pt x="7088212" y="6858000"/>
                </a:lnTo>
                <a:lnTo>
                  <a:pt x="6740201" y="6858000"/>
                </a:lnTo>
                <a:lnTo>
                  <a:pt x="5071618" y="3434542"/>
                </a:lnTo>
                <a:close/>
                <a:moveTo>
                  <a:pt x="6238549" y="1"/>
                </a:moveTo>
                <a:lnTo>
                  <a:pt x="6692444" y="1"/>
                </a:lnTo>
                <a:lnTo>
                  <a:pt x="5027891" y="3434542"/>
                </a:lnTo>
                <a:lnTo>
                  <a:pt x="6696474" y="6858000"/>
                </a:lnTo>
                <a:lnTo>
                  <a:pt x="6241989" y="6858000"/>
                </a:lnTo>
                <a:lnTo>
                  <a:pt x="4573406" y="3434542"/>
                </a:lnTo>
                <a:close/>
                <a:moveTo>
                  <a:pt x="5748221" y="1"/>
                </a:moveTo>
                <a:lnTo>
                  <a:pt x="6194231" y="1"/>
                </a:lnTo>
                <a:lnTo>
                  <a:pt x="4529678" y="3434542"/>
                </a:lnTo>
                <a:lnTo>
                  <a:pt x="6198261" y="6858000"/>
                </a:lnTo>
                <a:lnTo>
                  <a:pt x="5751661" y="6858000"/>
                </a:lnTo>
                <a:lnTo>
                  <a:pt x="4083078" y="3434542"/>
                </a:lnTo>
                <a:close/>
                <a:moveTo>
                  <a:pt x="5257893" y="1"/>
                </a:moveTo>
                <a:lnTo>
                  <a:pt x="5696019" y="1"/>
                </a:lnTo>
                <a:lnTo>
                  <a:pt x="4031465" y="3434542"/>
                </a:lnTo>
                <a:lnTo>
                  <a:pt x="5700048" y="6858000"/>
                </a:lnTo>
                <a:lnTo>
                  <a:pt x="5261334" y="6858000"/>
                </a:lnTo>
                <a:lnTo>
                  <a:pt x="3592751" y="3434542"/>
                </a:lnTo>
                <a:close/>
                <a:moveTo>
                  <a:pt x="4787634" y="1"/>
                </a:moveTo>
                <a:lnTo>
                  <a:pt x="5178319" y="1"/>
                </a:lnTo>
                <a:lnTo>
                  <a:pt x="3513176" y="3434542"/>
                </a:lnTo>
                <a:lnTo>
                  <a:pt x="5182449" y="6858000"/>
                </a:lnTo>
                <a:lnTo>
                  <a:pt x="4791074" y="6858000"/>
                </a:lnTo>
                <a:lnTo>
                  <a:pt x="3122491" y="3434542"/>
                </a:lnTo>
                <a:close/>
                <a:moveTo>
                  <a:pt x="4309493" y="1"/>
                </a:moveTo>
                <a:lnTo>
                  <a:pt x="4668049" y="1"/>
                </a:lnTo>
                <a:lnTo>
                  <a:pt x="3003495" y="3434542"/>
                </a:lnTo>
                <a:lnTo>
                  <a:pt x="4672078" y="6858000"/>
                </a:lnTo>
                <a:lnTo>
                  <a:pt x="4312934" y="6858000"/>
                </a:lnTo>
                <a:lnTo>
                  <a:pt x="2644351" y="3434542"/>
                </a:lnTo>
                <a:close/>
                <a:moveTo>
                  <a:pt x="3827179" y="1"/>
                </a:moveTo>
                <a:lnTo>
                  <a:pt x="4161821" y="1"/>
                </a:lnTo>
                <a:lnTo>
                  <a:pt x="2496679" y="3434542"/>
                </a:lnTo>
                <a:lnTo>
                  <a:pt x="4165951" y="6858000"/>
                </a:lnTo>
                <a:lnTo>
                  <a:pt x="3831208" y="6858000"/>
                </a:lnTo>
                <a:lnTo>
                  <a:pt x="2162625" y="3434542"/>
                </a:lnTo>
                <a:close/>
                <a:moveTo>
                  <a:pt x="3396278" y="1"/>
                </a:moveTo>
                <a:lnTo>
                  <a:pt x="3658775" y="1"/>
                </a:lnTo>
                <a:lnTo>
                  <a:pt x="1994222" y="3434542"/>
                </a:lnTo>
                <a:lnTo>
                  <a:pt x="3662804" y="6858000"/>
                </a:lnTo>
                <a:lnTo>
                  <a:pt x="3399719" y="6858000"/>
                </a:lnTo>
                <a:lnTo>
                  <a:pt x="1731136" y="3434542"/>
                </a:lnTo>
                <a:close/>
                <a:moveTo>
                  <a:pt x="2965904" y="0"/>
                </a:moveTo>
                <a:lnTo>
                  <a:pt x="3196732" y="0"/>
                </a:lnTo>
                <a:lnTo>
                  <a:pt x="1531590" y="3434542"/>
                </a:lnTo>
                <a:lnTo>
                  <a:pt x="3200863" y="6858000"/>
                </a:lnTo>
                <a:lnTo>
                  <a:pt x="2969345" y="6858000"/>
                </a:lnTo>
                <a:lnTo>
                  <a:pt x="1300762" y="3434542"/>
                </a:lnTo>
                <a:close/>
                <a:moveTo>
                  <a:pt x="2506592" y="0"/>
                </a:moveTo>
                <a:lnTo>
                  <a:pt x="2690136" y="0"/>
                </a:lnTo>
                <a:lnTo>
                  <a:pt x="1025582" y="3434542"/>
                </a:lnTo>
                <a:lnTo>
                  <a:pt x="2694165" y="6858000"/>
                </a:lnTo>
                <a:lnTo>
                  <a:pt x="2510651" y="6858000"/>
                </a:lnTo>
                <a:lnTo>
                  <a:pt x="842068" y="3434542"/>
                </a:lnTo>
                <a:lnTo>
                  <a:pt x="859272" y="3398698"/>
                </a:lnTo>
                <a:close/>
                <a:moveTo>
                  <a:pt x="2066862" y="0"/>
                </a:moveTo>
                <a:lnTo>
                  <a:pt x="2178634" y="0"/>
                </a:lnTo>
                <a:lnTo>
                  <a:pt x="513490" y="3434542"/>
                </a:lnTo>
                <a:lnTo>
                  <a:pt x="2182763" y="6858000"/>
                </a:lnTo>
                <a:lnTo>
                  <a:pt x="2070961" y="6858000"/>
                </a:lnTo>
                <a:lnTo>
                  <a:pt x="402378" y="3434542"/>
                </a:lnTo>
                <a:lnTo>
                  <a:pt x="412414" y="3413036"/>
                </a:lnTo>
                <a:close/>
                <a:moveTo>
                  <a:pt x="1664655" y="0"/>
                </a:moveTo>
                <a:lnTo>
                  <a:pt x="1736238" y="0"/>
                </a:lnTo>
                <a:lnTo>
                  <a:pt x="71684" y="3434542"/>
                </a:lnTo>
                <a:lnTo>
                  <a:pt x="1740267" y="6858000"/>
                </a:lnTo>
                <a:lnTo>
                  <a:pt x="1668582" y="6858000"/>
                </a:lnTo>
                <a:lnTo>
                  <a:pt x="0" y="3434545"/>
                </a:lnTo>
                <a:lnTo>
                  <a:pt x="0" y="3434539"/>
                </a:lnTo>
                <a:lnTo>
                  <a:pt x="7167" y="3420921"/>
                </a:lnTo>
                <a:close/>
              </a:path>
            </a:pathLst>
          </a:custGeom>
          <a:solidFill>
            <a:schemeClr val="bg1"/>
          </a:solidFill>
          <a:effectLst>
            <a:outerShdw blurRad="254000" algn="ctr" rotWithShape="0">
              <a:schemeClr val="accent4">
                <a:alpha val="20000"/>
              </a:schemeClr>
            </a:outerShdw>
          </a:effectLst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>
                <a:solidFill>
                  <a:schemeClr val="tx1"/>
                </a:solidFill>
              </a:defRPr>
            </a:lvl1pPr>
          </a:lstStyle>
          <a:p>
            <a:pPr marL="146300" lvl="0" indent="-146300" algn="ctr"/>
            <a:r>
              <a:rPr lang="en-US" dirty="0"/>
              <a:t>Imag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3FE2BF8-828C-43E9-9772-0F79DCCE205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400E2C6-D32A-422E-AD39-99FE6F7087F8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EC883F4E-2F81-4391-AF85-48360AD41C5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8138" y="3227297"/>
            <a:ext cx="1242834" cy="1306603"/>
          </a:xfrm>
          <a:prstGeom prst="rect">
            <a:avLst/>
          </a:prstGeom>
          <a:noFill/>
          <a:effectLst/>
        </p:spPr>
        <p:txBody>
          <a:bodyPr vert="horz" wrap="none"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8800" b="1" spc="-226" baseline="0">
                <a:solidFill>
                  <a:schemeClr val="accent1"/>
                </a:solidFill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02" name="Text Placeholder 5">
            <a:extLst>
              <a:ext uri="{FF2B5EF4-FFF2-40B4-BE49-F238E27FC236}">
                <a16:creationId xmlns:a16="http://schemas.microsoft.com/office/drawing/2014/main" id="{D45EA242-18FC-4A96-9615-B392A4282B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26249" y="3364992"/>
            <a:ext cx="2820113" cy="1930908"/>
          </a:xfrm>
          <a:noFill/>
          <a:effectLst/>
        </p:spPr>
        <p:txBody>
          <a:bodyPr lIns="0" tIns="0" rIns="0" bIns="0">
            <a:normAutofit/>
          </a:bodyPr>
          <a:lstStyle>
            <a:lvl1pPr marL="0" indent="0">
              <a:spcBef>
                <a:spcPts val="400"/>
              </a:spcBef>
              <a:buFont typeface="Arial" panose="020B0604020202020204" pitchFamily="34" charset="0"/>
              <a:buNone/>
              <a:defRPr sz="2133" b="0">
                <a:solidFill>
                  <a:schemeClr val="accent1"/>
                </a:solidFill>
              </a:defRPr>
            </a:lvl1pPr>
            <a:lvl2pPr marL="170684" indent="0">
              <a:buNone/>
              <a:defRPr sz="2133" b="0"/>
            </a:lvl2pPr>
            <a:lvl3pPr marL="329176" indent="0">
              <a:buNone/>
              <a:defRPr sz="2133" b="0"/>
            </a:lvl3pPr>
            <a:lvl4pPr marL="621776" indent="0">
              <a:buFont typeface="Arial" panose="020B0604020202020204" pitchFamily="34" charset="0"/>
              <a:buNone/>
              <a:defRPr sz="2133" b="0"/>
            </a:lvl4pPr>
            <a:lvl5pPr marL="804652" indent="0">
              <a:buNone/>
              <a:defRPr sz="2133" b="0"/>
            </a:lvl5pPr>
          </a:lstStyle>
          <a:p>
            <a:pPr lvl="0"/>
            <a:r>
              <a:rPr lang="en-US" dirty="0"/>
              <a:t>Insert subtitle</a:t>
            </a:r>
            <a:br>
              <a:rPr lang="en-US" dirty="0"/>
            </a:br>
            <a:r>
              <a:rPr lang="en-US" dirty="0"/>
              <a:t>here.</a:t>
            </a:r>
          </a:p>
        </p:txBody>
      </p:sp>
      <p:sp>
        <p:nvSpPr>
          <p:cNvPr id="103" name="Title 1">
            <a:extLst>
              <a:ext uri="{FF2B5EF4-FFF2-40B4-BE49-F238E27FC236}">
                <a16:creationId xmlns:a16="http://schemas.microsoft.com/office/drawing/2014/main" id="{D206086A-C24E-4C32-AB1D-EEBB7106F1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325" y="338138"/>
            <a:ext cx="4734424" cy="2904934"/>
          </a:xfrm>
        </p:spPr>
        <p:txBody>
          <a:bodyPr tIns="0" bIns="0" anchor="b" anchorCtr="0">
            <a:normAutofit/>
          </a:bodyPr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a section 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47C634D-367B-4D55-9E5E-7317BAD74069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85BE070-6E48-4FDC-9585-867C30B712AC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77A14D00-BABB-4B33-B563-1E98D4B528CD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AF68F89A-AD76-4C28-9667-AC243535FCFE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D5243810-0806-42BE-BB94-A436BFA91C12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53C91FC9-7667-45E6-8FDB-BA6E2A990CB1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91361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8667" y="1559985"/>
            <a:ext cx="11514667" cy="4728633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C05687A3-E7FA-46E9-958A-EB5258B07F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00800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FEEA58F-C999-4668-BDD4-E63BB73AF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0A003F39-DE6B-40AA-87C6-C13B293EFEF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67732" y="1"/>
            <a:ext cx="885600" cy="1138181"/>
            <a:chOff x="608663" y="3130115"/>
            <a:chExt cx="1033869" cy="132873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B00ECF2-3D3B-4C1F-8A83-B596CDA55209}"/>
                </a:ext>
              </a:extLst>
            </p:cNvPr>
            <p:cNvSpPr/>
            <p:nvPr/>
          </p:nvSpPr>
          <p:spPr>
            <a:xfrm>
              <a:off x="608663" y="3130115"/>
              <a:ext cx="1033869" cy="13287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1000" sy="101000" algn="ctr" rotWithShape="0">
                <a:schemeClr val="accent4"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dirty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14" name="Graphique 81">
              <a:extLst>
                <a:ext uri="{FF2B5EF4-FFF2-40B4-BE49-F238E27FC236}">
                  <a16:creationId xmlns:a16="http://schemas.microsoft.com/office/drawing/2014/main" id="{8C439860-6BC0-4C42-9017-A8226B7F37D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9864" y="3629009"/>
              <a:ext cx="271466" cy="529187"/>
              <a:chOff x="2389465" y="1817499"/>
              <a:chExt cx="321335" cy="626400"/>
            </a:xfrm>
          </p:grpSpPr>
          <p:sp>
            <p:nvSpPr>
              <p:cNvPr id="15" name="Forme libre : forme 14">
                <a:extLst>
                  <a:ext uri="{FF2B5EF4-FFF2-40B4-BE49-F238E27FC236}">
                    <a16:creationId xmlns:a16="http://schemas.microsoft.com/office/drawing/2014/main" id="{6A81D5D7-3EBF-445C-87B5-03C182137BEE}"/>
                  </a:ext>
                </a:extLst>
              </p:cNvPr>
              <p:cNvSpPr/>
              <p:nvPr/>
            </p:nvSpPr>
            <p:spPr>
              <a:xfrm>
                <a:off x="2563032" y="1817499"/>
                <a:ext cx="142945" cy="208025"/>
              </a:xfrm>
              <a:custGeom>
                <a:avLst/>
                <a:gdLst>
                  <a:gd name="connsiteX0" fmla="*/ 143119 w 142944"/>
                  <a:gd name="connsiteY0" fmla="*/ 208548 h 208025"/>
                  <a:gd name="connsiteX1" fmla="*/ 0 w 142944"/>
                  <a:gd name="connsiteY1" fmla="*/ 52820 h 208025"/>
                  <a:gd name="connsiteX2" fmla="*/ 0 w 142944"/>
                  <a:gd name="connsiteY2" fmla="*/ 0 h 208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944" h="208025">
                    <a:moveTo>
                      <a:pt x="143119" y="208548"/>
                    </a:moveTo>
                    <a:cubicBezTo>
                      <a:pt x="143119" y="126558"/>
                      <a:pt x="80130" y="59444"/>
                      <a:pt x="0" y="52820"/>
                    </a:cubicBez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6" name="Forme libre : forme 15">
                <a:extLst>
                  <a:ext uri="{FF2B5EF4-FFF2-40B4-BE49-F238E27FC236}">
                    <a16:creationId xmlns:a16="http://schemas.microsoft.com/office/drawing/2014/main" id="{B4CB754B-BF3D-4620-94AC-EEF5D6C0A1FC}"/>
                  </a:ext>
                </a:extLst>
              </p:cNvPr>
              <p:cNvSpPr/>
              <p:nvPr/>
            </p:nvSpPr>
            <p:spPr>
              <a:xfrm>
                <a:off x="2393823" y="1817499"/>
                <a:ext cx="259741" cy="521225"/>
              </a:xfrm>
              <a:custGeom>
                <a:avLst/>
                <a:gdLst>
                  <a:gd name="connsiteX0" fmla="*/ 143119 w 259740"/>
                  <a:gd name="connsiteY0" fmla="*/ 0 h 521225"/>
                  <a:gd name="connsiteX1" fmla="*/ 143119 w 259740"/>
                  <a:gd name="connsiteY1" fmla="*/ 52820 h 521225"/>
                  <a:gd name="connsiteX2" fmla="*/ 0 w 259740"/>
                  <a:gd name="connsiteY2" fmla="*/ 208548 h 521225"/>
                  <a:gd name="connsiteX3" fmla="*/ 156135 w 259740"/>
                  <a:gd name="connsiteY3" fmla="*/ 365264 h 521225"/>
                  <a:gd name="connsiteX4" fmla="*/ 208141 w 259740"/>
                  <a:gd name="connsiteY4" fmla="*/ 417561 h 521225"/>
                  <a:gd name="connsiteX5" fmla="*/ 156135 w 259740"/>
                  <a:gd name="connsiteY5" fmla="*/ 469568 h 521225"/>
                  <a:gd name="connsiteX6" fmla="*/ 104129 w 259740"/>
                  <a:gd name="connsiteY6" fmla="*/ 417561 h 521225"/>
                  <a:gd name="connsiteX7" fmla="*/ 52181 w 259740"/>
                  <a:gd name="connsiteY7" fmla="*/ 417503 h 521225"/>
                  <a:gd name="connsiteX8" fmla="*/ 156135 w 259740"/>
                  <a:gd name="connsiteY8" fmla="*/ 521458 h 521225"/>
                  <a:gd name="connsiteX9" fmla="*/ 260090 w 259740"/>
                  <a:gd name="connsiteY9" fmla="*/ 417503 h 521225"/>
                  <a:gd name="connsiteX10" fmla="*/ 156135 w 259740"/>
                  <a:gd name="connsiteY10" fmla="*/ 313142 h 521225"/>
                  <a:gd name="connsiteX11" fmla="*/ 52181 w 259740"/>
                  <a:gd name="connsiteY11" fmla="*/ 208781 h 521225"/>
                  <a:gd name="connsiteX12" fmla="*/ 156135 w 259740"/>
                  <a:gd name="connsiteY12" fmla="*/ 104826 h 521225"/>
                  <a:gd name="connsiteX13" fmla="*/ 260090 w 259740"/>
                  <a:gd name="connsiteY13" fmla="*/ 208781 h 521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9740" h="521225">
                    <a:moveTo>
                      <a:pt x="143119" y="0"/>
                    </a:moveTo>
                    <a:lnTo>
                      <a:pt x="143119" y="52820"/>
                    </a:lnTo>
                    <a:cubicBezTo>
                      <a:pt x="62989" y="59444"/>
                      <a:pt x="0" y="126558"/>
                      <a:pt x="0" y="208548"/>
                    </a:cubicBezTo>
                    <a:cubicBezTo>
                      <a:pt x="0" y="294896"/>
                      <a:pt x="69903" y="365264"/>
                      <a:pt x="156135" y="365264"/>
                    </a:cubicBezTo>
                    <a:cubicBezTo>
                      <a:pt x="184840" y="365264"/>
                      <a:pt x="208141" y="388856"/>
                      <a:pt x="208141" y="417561"/>
                    </a:cubicBezTo>
                    <a:cubicBezTo>
                      <a:pt x="208141" y="446266"/>
                      <a:pt x="184840" y="469568"/>
                      <a:pt x="156135" y="469568"/>
                    </a:cubicBezTo>
                    <a:cubicBezTo>
                      <a:pt x="127430" y="469568"/>
                      <a:pt x="104129" y="446325"/>
                      <a:pt x="104129" y="417561"/>
                    </a:cubicBezTo>
                    <a:moveTo>
                      <a:pt x="52181" y="417503"/>
                    </a:moveTo>
                    <a:cubicBezTo>
                      <a:pt x="52181" y="474913"/>
                      <a:pt x="98725" y="521458"/>
                      <a:pt x="156135" y="521458"/>
                    </a:cubicBezTo>
                    <a:cubicBezTo>
                      <a:pt x="213545" y="521458"/>
                      <a:pt x="260090" y="474913"/>
                      <a:pt x="260090" y="417503"/>
                    </a:cubicBezTo>
                    <a:cubicBezTo>
                      <a:pt x="260090" y="360093"/>
                      <a:pt x="213545" y="313142"/>
                      <a:pt x="156135" y="313142"/>
                    </a:cubicBezTo>
                    <a:cubicBezTo>
                      <a:pt x="98725" y="313142"/>
                      <a:pt x="52181" y="266191"/>
                      <a:pt x="52181" y="208781"/>
                    </a:cubicBezTo>
                    <a:cubicBezTo>
                      <a:pt x="52181" y="151370"/>
                      <a:pt x="98725" y="104826"/>
                      <a:pt x="156135" y="104826"/>
                    </a:cubicBezTo>
                    <a:cubicBezTo>
                      <a:pt x="213545" y="104826"/>
                      <a:pt x="260090" y="151370"/>
                      <a:pt x="260090" y="208781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" name="Forme libre : forme 16">
                <a:extLst>
                  <a:ext uri="{FF2B5EF4-FFF2-40B4-BE49-F238E27FC236}">
                    <a16:creationId xmlns:a16="http://schemas.microsoft.com/office/drawing/2014/main" id="{A1CC4813-415A-447C-86D9-B0CB3DC0246D}"/>
                  </a:ext>
                </a:extLst>
              </p:cNvPr>
              <p:cNvSpPr/>
              <p:nvPr/>
            </p:nvSpPr>
            <p:spPr>
              <a:xfrm>
                <a:off x="2393823" y="1974273"/>
                <a:ext cx="312038" cy="469509"/>
              </a:xfrm>
              <a:custGeom>
                <a:avLst/>
                <a:gdLst>
                  <a:gd name="connsiteX0" fmla="*/ 0 w 312037"/>
                  <a:gd name="connsiteY0" fmla="*/ 261019 h 469509"/>
                  <a:gd name="connsiteX1" fmla="*/ 143119 w 312037"/>
                  <a:gd name="connsiteY1" fmla="*/ 416748 h 469509"/>
                  <a:gd name="connsiteX2" fmla="*/ 143119 w 312037"/>
                  <a:gd name="connsiteY2" fmla="*/ 469568 h 469509"/>
                  <a:gd name="connsiteX3" fmla="*/ 169151 w 312037"/>
                  <a:gd name="connsiteY3" fmla="*/ 469510 h 469509"/>
                  <a:gd name="connsiteX4" fmla="*/ 169151 w 312037"/>
                  <a:gd name="connsiteY4" fmla="*/ 416748 h 469509"/>
                  <a:gd name="connsiteX5" fmla="*/ 312328 w 312037"/>
                  <a:gd name="connsiteY5" fmla="*/ 261019 h 469509"/>
                  <a:gd name="connsiteX6" fmla="*/ 156193 w 312037"/>
                  <a:gd name="connsiteY6" fmla="*/ 104303 h 469509"/>
                  <a:gd name="connsiteX7" fmla="*/ 104187 w 312037"/>
                  <a:gd name="connsiteY7" fmla="*/ 52006 h 469509"/>
                  <a:gd name="connsiteX8" fmla="*/ 156193 w 312037"/>
                  <a:gd name="connsiteY8" fmla="*/ 0 h 469509"/>
                  <a:gd name="connsiteX9" fmla="*/ 208200 w 312037"/>
                  <a:gd name="connsiteY9" fmla="*/ 52006 h 469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2037" h="469509">
                    <a:moveTo>
                      <a:pt x="0" y="261019"/>
                    </a:moveTo>
                    <a:cubicBezTo>
                      <a:pt x="0" y="343009"/>
                      <a:pt x="62989" y="410123"/>
                      <a:pt x="143119" y="416748"/>
                    </a:cubicBezTo>
                    <a:lnTo>
                      <a:pt x="143119" y="469568"/>
                    </a:lnTo>
                    <a:moveTo>
                      <a:pt x="169151" y="469510"/>
                    </a:moveTo>
                    <a:lnTo>
                      <a:pt x="169151" y="416748"/>
                    </a:lnTo>
                    <a:cubicBezTo>
                      <a:pt x="249282" y="410065"/>
                      <a:pt x="312328" y="342951"/>
                      <a:pt x="312328" y="261019"/>
                    </a:cubicBezTo>
                    <a:cubicBezTo>
                      <a:pt x="312328" y="174613"/>
                      <a:pt x="242425" y="104303"/>
                      <a:pt x="156193" y="104303"/>
                    </a:cubicBezTo>
                    <a:cubicBezTo>
                      <a:pt x="127488" y="104303"/>
                      <a:pt x="104187" y="80711"/>
                      <a:pt x="104187" y="52006"/>
                    </a:cubicBezTo>
                    <a:cubicBezTo>
                      <a:pt x="104187" y="23301"/>
                      <a:pt x="127488" y="0"/>
                      <a:pt x="156193" y="0"/>
                    </a:cubicBezTo>
                    <a:cubicBezTo>
                      <a:pt x="184898" y="0"/>
                      <a:pt x="208200" y="23301"/>
                      <a:pt x="208200" y="52006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70299A7-4576-46C1-AE9A-2F545B79EF0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A1879CF-CA4E-42D8-81F0-F73B7E1AA718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27E13CD-E481-4C47-8FFD-68056A12640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89EAC27-DDA4-4A80-B0B7-4BA98F32DC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8" name="Group 6">
            <a:extLst>
              <a:ext uri="{FF2B5EF4-FFF2-40B4-BE49-F238E27FC236}">
                <a16:creationId xmlns:a16="http://schemas.microsoft.com/office/drawing/2014/main" id="{FE2661D9-C016-464B-B3C9-BA996127E5A6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F389DBD-4C4E-450A-947D-9A906B0A1325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08D96B8A-FA36-45E7-B33F-304D75203220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887CA650-185E-4358-AE23-0FA26A99699F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0F9CBE61-0F6F-4C14-A98C-F0D21AFE1A64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9F363ED9-C5A5-4AB9-A847-EC3FF90504F2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30235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2">
            <a:extLst>
              <a:ext uri="{FF2B5EF4-FFF2-40B4-BE49-F238E27FC236}">
                <a16:creationId xmlns:a16="http://schemas.microsoft.com/office/drawing/2014/main" id="{18F1FE93-E7D3-4ED9-97B9-B1FD569B5F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9FA0099B-9F48-4AD3-BF82-C2ECA534EC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00800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96E0009D-EA2E-49BE-A7D9-7805ACB7D17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67732" y="1"/>
            <a:ext cx="885600" cy="1138181"/>
            <a:chOff x="608663" y="3130115"/>
            <a:chExt cx="1033869" cy="132873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4ACE4C5-6682-4D69-81A4-4FF13598EA07}"/>
                </a:ext>
              </a:extLst>
            </p:cNvPr>
            <p:cNvSpPr/>
            <p:nvPr/>
          </p:nvSpPr>
          <p:spPr>
            <a:xfrm>
              <a:off x="608663" y="3130115"/>
              <a:ext cx="1033869" cy="13287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1000" sy="101000" algn="ctr" rotWithShape="0">
                <a:schemeClr val="accent4"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dirty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12" name="Graphique 81">
              <a:extLst>
                <a:ext uri="{FF2B5EF4-FFF2-40B4-BE49-F238E27FC236}">
                  <a16:creationId xmlns:a16="http://schemas.microsoft.com/office/drawing/2014/main" id="{D10A33C0-509F-434B-B9AA-4D0F210645C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9864" y="3629009"/>
              <a:ext cx="271466" cy="529187"/>
              <a:chOff x="2389465" y="1817499"/>
              <a:chExt cx="321335" cy="626400"/>
            </a:xfrm>
          </p:grpSpPr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651A91D5-B607-4592-B0D7-B2D14F67A585}"/>
                  </a:ext>
                </a:extLst>
              </p:cNvPr>
              <p:cNvSpPr/>
              <p:nvPr/>
            </p:nvSpPr>
            <p:spPr>
              <a:xfrm>
                <a:off x="2563032" y="1817499"/>
                <a:ext cx="142945" cy="208025"/>
              </a:xfrm>
              <a:custGeom>
                <a:avLst/>
                <a:gdLst>
                  <a:gd name="connsiteX0" fmla="*/ 143119 w 142944"/>
                  <a:gd name="connsiteY0" fmla="*/ 208548 h 208025"/>
                  <a:gd name="connsiteX1" fmla="*/ 0 w 142944"/>
                  <a:gd name="connsiteY1" fmla="*/ 52820 h 208025"/>
                  <a:gd name="connsiteX2" fmla="*/ 0 w 142944"/>
                  <a:gd name="connsiteY2" fmla="*/ 0 h 208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944" h="208025">
                    <a:moveTo>
                      <a:pt x="143119" y="208548"/>
                    </a:moveTo>
                    <a:cubicBezTo>
                      <a:pt x="143119" y="126558"/>
                      <a:pt x="80130" y="59444"/>
                      <a:pt x="0" y="52820"/>
                    </a:cubicBez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9" name="Forme libre : forme 18">
                <a:extLst>
                  <a:ext uri="{FF2B5EF4-FFF2-40B4-BE49-F238E27FC236}">
                    <a16:creationId xmlns:a16="http://schemas.microsoft.com/office/drawing/2014/main" id="{877BB429-7063-4201-80C2-D308C17124B1}"/>
                  </a:ext>
                </a:extLst>
              </p:cNvPr>
              <p:cNvSpPr/>
              <p:nvPr/>
            </p:nvSpPr>
            <p:spPr>
              <a:xfrm>
                <a:off x="2393823" y="1817499"/>
                <a:ext cx="259741" cy="521225"/>
              </a:xfrm>
              <a:custGeom>
                <a:avLst/>
                <a:gdLst>
                  <a:gd name="connsiteX0" fmla="*/ 143119 w 259740"/>
                  <a:gd name="connsiteY0" fmla="*/ 0 h 521225"/>
                  <a:gd name="connsiteX1" fmla="*/ 143119 w 259740"/>
                  <a:gd name="connsiteY1" fmla="*/ 52820 h 521225"/>
                  <a:gd name="connsiteX2" fmla="*/ 0 w 259740"/>
                  <a:gd name="connsiteY2" fmla="*/ 208548 h 521225"/>
                  <a:gd name="connsiteX3" fmla="*/ 156135 w 259740"/>
                  <a:gd name="connsiteY3" fmla="*/ 365264 h 521225"/>
                  <a:gd name="connsiteX4" fmla="*/ 208141 w 259740"/>
                  <a:gd name="connsiteY4" fmla="*/ 417561 h 521225"/>
                  <a:gd name="connsiteX5" fmla="*/ 156135 w 259740"/>
                  <a:gd name="connsiteY5" fmla="*/ 469568 h 521225"/>
                  <a:gd name="connsiteX6" fmla="*/ 104129 w 259740"/>
                  <a:gd name="connsiteY6" fmla="*/ 417561 h 521225"/>
                  <a:gd name="connsiteX7" fmla="*/ 52181 w 259740"/>
                  <a:gd name="connsiteY7" fmla="*/ 417503 h 521225"/>
                  <a:gd name="connsiteX8" fmla="*/ 156135 w 259740"/>
                  <a:gd name="connsiteY8" fmla="*/ 521458 h 521225"/>
                  <a:gd name="connsiteX9" fmla="*/ 260090 w 259740"/>
                  <a:gd name="connsiteY9" fmla="*/ 417503 h 521225"/>
                  <a:gd name="connsiteX10" fmla="*/ 156135 w 259740"/>
                  <a:gd name="connsiteY10" fmla="*/ 313142 h 521225"/>
                  <a:gd name="connsiteX11" fmla="*/ 52181 w 259740"/>
                  <a:gd name="connsiteY11" fmla="*/ 208781 h 521225"/>
                  <a:gd name="connsiteX12" fmla="*/ 156135 w 259740"/>
                  <a:gd name="connsiteY12" fmla="*/ 104826 h 521225"/>
                  <a:gd name="connsiteX13" fmla="*/ 260090 w 259740"/>
                  <a:gd name="connsiteY13" fmla="*/ 208781 h 521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9740" h="521225">
                    <a:moveTo>
                      <a:pt x="143119" y="0"/>
                    </a:moveTo>
                    <a:lnTo>
                      <a:pt x="143119" y="52820"/>
                    </a:lnTo>
                    <a:cubicBezTo>
                      <a:pt x="62989" y="59444"/>
                      <a:pt x="0" y="126558"/>
                      <a:pt x="0" y="208548"/>
                    </a:cubicBezTo>
                    <a:cubicBezTo>
                      <a:pt x="0" y="294896"/>
                      <a:pt x="69903" y="365264"/>
                      <a:pt x="156135" y="365264"/>
                    </a:cubicBezTo>
                    <a:cubicBezTo>
                      <a:pt x="184840" y="365264"/>
                      <a:pt x="208141" y="388856"/>
                      <a:pt x="208141" y="417561"/>
                    </a:cubicBezTo>
                    <a:cubicBezTo>
                      <a:pt x="208141" y="446266"/>
                      <a:pt x="184840" y="469568"/>
                      <a:pt x="156135" y="469568"/>
                    </a:cubicBezTo>
                    <a:cubicBezTo>
                      <a:pt x="127430" y="469568"/>
                      <a:pt x="104129" y="446325"/>
                      <a:pt x="104129" y="417561"/>
                    </a:cubicBezTo>
                    <a:moveTo>
                      <a:pt x="52181" y="417503"/>
                    </a:moveTo>
                    <a:cubicBezTo>
                      <a:pt x="52181" y="474913"/>
                      <a:pt x="98725" y="521458"/>
                      <a:pt x="156135" y="521458"/>
                    </a:cubicBezTo>
                    <a:cubicBezTo>
                      <a:pt x="213545" y="521458"/>
                      <a:pt x="260090" y="474913"/>
                      <a:pt x="260090" y="417503"/>
                    </a:cubicBezTo>
                    <a:cubicBezTo>
                      <a:pt x="260090" y="360093"/>
                      <a:pt x="213545" y="313142"/>
                      <a:pt x="156135" y="313142"/>
                    </a:cubicBezTo>
                    <a:cubicBezTo>
                      <a:pt x="98725" y="313142"/>
                      <a:pt x="52181" y="266191"/>
                      <a:pt x="52181" y="208781"/>
                    </a:cubicBezTo>
                    <a:cubicBezTo>
                      <a:pt x="52181" y="151370"/>
                      <a:pt x="98725" y="104826"/>
                      <a:pt x="156135" y="104826"/>
                    </a:cubicBezTo>
                    <a:cubicBezTo>
                      <a:pt x="213545" y="104826"/>
                      <a:pt x="260090" y="151370"/>
                      <a:pt x="260090" y="208781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0" name="Forme libre : forme 19">
                <a:extLst>
                  <a:ext uri="{FF2B5EF4-FFF2-40B4-BE49-F238E27FC236}">
                    <a16:creationId xmlns:a16="http://schemas.microsoft.com/office/drawing/2014/main" id="{B81FCD21-A1A5-46B2-A299-6A6AD1D47990}"/>
                  </a:ext>
                </a:extLst>
              </p:cNvPr>
              <p:cNvSpPr/>
              <p:nvPr/>
            </p:nvSpPr>
            <p:spPr>
              <a:xfrm>
                <a:off x="2393823" y="1974273"/>
                <a:ext cx="312038" cy="469509"/>
              </a:xfrm>
              <a:custGeom>
                <a:avLst/>
                <a:gdLst>
                  <a:gd name="connsiteX0" fmla="*/ 0 w 312037"/>
                  <a:gd name="connsiteY0" fmla="*/ 261019 h 469509"/>
                  <a:gd name="connsiteX1" fmla="*/ 143119 w 312037"/>
                  <a:gd name="connsiteY1" fmla="*/ 416748 h 469509"/>
                  <a:gd name="connsiteX2" fmla="*/ 143119 w 312037"/>
                  <a:gd name="connsiteY2" fmla="*/ 469568 h 469509"/>
                  <a:gd name="connsiteX3" fmla="*/ 169151 w 312037"/>
                  <a:gd name="connsiteY3" fmla="*/ 469510 h 469509"/>
                  <a:gd name="connsiteX4" fmla="*/ 169151 w 312037"/>
                  <a:gd name="connsiteY4" fmla="*/ 416748 h 469509"/>
                  <a:gd name="connsiteX5" fmla="*/ 312328 w 312037"/>
                  <a:gd name="connsiteY5" fmla="*/ 261019 h 469509"/>
                  <a:gd name="connsiteX6" fmla="*/ 156193 w 312037"/>
                  <a:gd name="connsiteY6" fmla="*/ 104303 h 469509"/>
                  <a:gd name="connsiteX7" fmla="*/ 104187 w 312037"/>
                  <a:gd name="connsiteY7" fmla="*/ 52006 h 469509"/>
                  <a:gd name="connsiteX8" fmla="*/ 156193 w 312037"/>
                  <a:gd name="connsiteY8" fmla="*/ 0 h 469509"/>
                  <a:gd name="connsiteX9" fmla="*/ 208200 w 312037"/>
                  <a:gd name="connsiteY9" fmla="*/ 52006 h 469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2037" h="469509">
                    <a:moveTo>
                      <a:pt x="0" y="261019"/>
                    </a:moveTo>
                    <a:cubicBezTo>
                      <a:pt x="0" y="343009"/>
                      <a:pt x="62989" y="410123"/>
                      <a:pt x="143119" y="416748"/>
                    </a:cubicBezTo>
                    <a:lnTo>
                      <a:pt x="143119" y="469568"/>
                    </a:lnTo>
                    <a:moveTo>
                      <a:pt x="169151" y="469510"/>
                    </a:moveTo>
                    <a:lnTo>
                      <a:pt x="169151" y="416748"/>
                    </a:lnTo>
                    <a:cubicBezTo>
                      <a:pt x="249282" y="410065"/>
                      <a:pt x="312328" y="342951"/>
                      <a:pt x="312328" y="261019"/>
                    </a:cubicBezTo>
                    <a:cubicBezTo>
                      <a:pt x="312328" y="174613"/>
                      <a:pt x="242425" y="104303"/>
                      <a:pt x="156193" y="104303"/>
                    </a:cubicBezTo>
                    <a:cubicBezTo>
                      <a:pt x="127488" y="104303"/>
                      <a:pt x="104187" y="80711"/>
                      <a:pt x="104187" y="52006"/>
                    </a:cubicBezTo>
                    <a:cubicBezTo>
                      <a:pt x="104187" y="23301"/>
                      <a:pt x="127488" y="0"/>
                      <a:pt x="156193" y="0"/>
                    </a:cubicBezTo>
                    <a:cubicBezTo>
                      <a:pt x="184898" y="0"/>
                      <a:pt x="208200" y="23301"/>
                      <a:pt x="208200" y="52006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10CA99F0-879B-4A7F-9333-6CDF0C2AD5C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AD46FBC-3A8D-4DAA-9BDA-864A43D3EA77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915072C-588E-4C8D-A50E-9328BD90349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8B2991A-9569-4784-8E29-35E8A90B97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4" name="Group 6">
            <a:extLst>
              <a:ext uri="{FF2B5EF4-FFF2-40B4-BE49-F238E27FC236}">
                <a16:creationId xmlns:a16="http://schemas.microsoft.com/office/drawing/2014/main" id="{A616876B-7365-4F7D-82C6-647D83B03B41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058A9D7F-652A-42D1-A6E5-2CD735150302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128C2023-5EF0-45C3-82C9-B9117387F2F4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1AE12CE8-C8A9-4D0D-B49B-D6D91B0D157C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DAB58C29-6D3A-4DE5-AAE4-BCCE5F6A5030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B34AEF3C-2F6D-4847-B4C5-F70A8073DB6E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39436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to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pour une image  8">
            <a:extLst>
              <a:ext uri="{FF2B5EF4-FFF2-40B4-BE49-F238E27FC236}">
                <a16:creationId xmlns:a16="http://schemas.microsoft.com/office/drawing/2014/main" id="{18818745-B376-4E79-B145-460BE1ACD90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3221665" cy="6858000"/>
          </a:xfrm>
          <a:prstGeom prst="rect">
            <a:avLst/>
          </a:prstGeom>
          <a:solidFill>
            <a:schemeClr val="tx2"/>
          </a:solidFill>
          <a:effectLst>
            <a:outerShdw blurRad="254000" algn="ctr" rotWithShape="0">
              <a:schemeClr val="accent4">
                <a:alpha val="20000"/>
              </a:schemeClr>
            </a:outerShdw>
          </a:effectLst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200">
                <a:solidFill>
                  <a:schemeClr val="bg1"/>
                </a:solidFill>
              </a:defRPr>
            </a:lvl1pPr>
          </a:lstStyle>
          <a:p>
            <a:pPr marL="146300" lvl="0" indent="-146300" algn="ctr"/>
            <a:r>
              <a:rPr lang="en-US" dirty="0"/>
              <a:t>Image</a:t>
            </a: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18F1FE93-E7D3-4ED9-97B9-B1FD569B5F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1767" y="293065"/>
            <a:ext cx="6603946" cy="961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9FA0099B-9F48-4AD3-BF82-C2ECA534EC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41767" y="1317600"/>
            <a:ext cx="6603946" cy="295465"/>
          </a:xfrm>
          <a:noFill/>
          <a:effectLst/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3" name="Espace réservé du texte 52">
            <a:extLst>
              <a:ext uri="{FF2B5EF4-FFF2-40B4-BE49-F238E27FC236}">
                <a16:creationId xmlns:a16="http://schemas.microsoft.com/office/drawing/2014/main" id="{957D4790-9F32-4D43-AEAB-567FD899570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06232" y="6460526"/>
            <a:ext cx="889143" cy="223961"/>
          </a:xfrm>
          <a:custGeom>
            <a:avLst/>
            <a:gdLst>
              <a:gd name="connsiteX0" fmla="*/ 835172 w 889143"/>
              <a:gd name="connsiteY0" fmla="*/ 76769 h 223961"/>
              <a:gd name="connsiteX1" fmla="*/ 814718 w 889143"/>
              <a:gd name="connsiteY1" fmla="*/ 128525 h 223961"/>
              <a:gd name="connsiteX2" fmla="*/ 855660 w 889143"/>
              <a:gd name="connsiteY2" fmla="*/ 128525 h 223961"/>
              <a:gd name="connsiteX3" fmla="*/ 388098 w 889143"/>
              <a:gd name="connsiteY3" fmla="*/ 76313 h 223961"/>
              <a:gd name="connsiteX4" fmla="*/ 388098 w 889143"/>
              <a:gd name="connsiteY4" fmla="*/ 153247 h 223961"/>
              <a:gd name="connsiteX5" fmla="*/ 405295 w 889143"/>
              <a:gd name="connsiteY5" fmla="*/ 153247 h 223961"/>
              <a:gd name="connsiteX6" fmla="*/ 431809 w 889143"/>
              <a:gd name="connsiteY6" fmla="*/ 144843 h 223961"/>
              <a:gd name="connsiteX7" fmla="*/ 439723 w 889143"/>
              <a:gd name="connsiteY7" fmla="*/ 135984 h 223961"/>
              <a:gd name="connsiteX8" fmla="*/ 445782 w 889143"/>
              <a:gd name="connsiteY8" fmla="*/ 115008 h 223961"/>
              <a:gd name="connsiteX9" fmla="*/ 431809 w 889143"/>
              <a:gd name="connsiteY9" fmla="*/ 84716 h 223961"/>
              <a:gd name="connsiteX10" fmla="*/ 405295 w 889143"/>
              <a:gd name="connsiteY10" fmla="*/ 76313 h 223961"/>
              <a:gd name="connsiteX11" fmla="*/ 825401 w 889143"/>
              <a:gd name="connsiteY11" fmla="*/ 60451 h 223961"/>
              <a:gd name="connsiteX12" fmla="*/ 845400 w 889143"/>
              <a:gd name="connsiteY12" fmla="*/ 60451 h 223961"/>
              <a:gd name="connsiteX13" fmla="*/ 889143 w 889143"/>
              <a:gd name="connsiteY13" fmla="*/ 169109 h 223961"/>
              <a:gd name="connsiteX14" fmla="*/ 871457 w 889143"/>
              <a:gd name="connsiteY14" fmla="*/ 169109 h 223961"/>
              <a:gd name="connsiteX15" fmla="*/ 861685 w 889143"/>
              <a:gd name="connsiteY15" fmla="*/ 143475 h 223961"/>
              <a:gd name="connsiteX16" fmla="*/ 808659 w 889143"/>
              <a:gd name="connsiteY16" fmla="*/ 143475 h 223961"/>
              <a:gd name="connsiteX17" fmla="*/ 798432 w 889143"/>
              <a:gd name="connsiteY17" fmla="*/ 169109 h 223961"/>
              <a:gd name="connsiteX18" fmla="*/ 780746 w 889143"/>
              <a:gd name="connsiteY18" fmla="*/ 169109 h 223961"/>
              <a:gd name="connsiteX19" fmla="*/ 742572 w 889143"/>
              <a:gd name="connsiteY19" fmla="*/ 60451 h 223961"/>
              <a:gd name="connsiteX20" fmla="*/ 759770 w 889143"/>
              <a:gd name="connsiteY20" fmla="*/ 60451 h 223961"/>
              <a:gd name="connsiteX21" fmla="*/ 759770 w 889143"/>
              <a:gd name="connsiteY21" fmla="*/ 169109 h 223961"/>
              <a:gd name="connsiteX22" fmla="*/ 742572 w 889143"/>
              <a:gd name="connsiteY22" fmla="*/ 169109 h 223961"/>
              <a:gd name="connsiteX23" fmla="*/ 590952 w 889143"/>
              <a:gd name="connsiteY23" fmla="*/ 60451 h 223961"/>
              <a:gd name="connsiteX24" fmla="*/ 613752 w 889143"/>
              <a:gd name="connsiteY24" fmla="*/ 60451 h 223961"/>
              <a:gd name="connsiteX25" fmla="*/ 649092 w 889143"/>
              <a:gd name="connsiteY25" fmla="*/ 144387 h 223961"/>
              <a:gd name="connsiteX26" fmla="*/ 683944 w 889143"/>
              <a:gd name="connsiteY26" fmla="*/ 60451 h 223961"/>
              <a:gd name="connsiteX27" fmla="*/ 707688 w 889143"/>
              <a:gd name="connsiteY27" fmla="*/ 60451 h 223961"/>
              <a:gd name="connsiteX28" fmla="*/ 707688 w 889143"/>
              <a:gd name="connsiteY28" fmla="*/ 169109 h 223961"/>
              <a:gd name="connsiteX29" fmla="*/ 690458 w 889143"/>
              <a:gd name="connsiteY29" fmla="*/ 169044 h 223961"/>
              <a:gd name="connsiteX30" fmla="*/ 690458 w 889143"/>
              <a:gd name="connsiteY30" fmla="*/ 87420 h 223961"/>
              <a:gd name="connsiteX31" fmla="*/ 690034 w 889143"/>
              <a:gd name="connsiteY31" fmla="*/ 87420 h 223961"/>
              <a:gd name="connsiteX32" fmla="*/ 655997 w 889143"/>
              <a:gd name="connsiteY32" fmla="*/ 169109 h 223961"/>
              <a:gd name="connsiteX33" fmla="*/ 641601 w 889143"/>
              <a:gd name="connsiteY33" fmla="*/ 169109 h 223961"/>
              <a:gd name="connsiteX34" fmla="*/ 608150 w 889143"/>
              <a:gd name="connsiteY34" fmla="*/ 87973 h 223961"/>
              <a:gd name="connsiteX35" fmla="*/ 607694 w 889143"/>
              <a:gd name="connsiteY35" fmla="*/ 87973 h 223961"/>
              <a:gd name="connsiteX36" fmla="*/ 607694 w 889143"/>
              <a:gd name="connsiteY36" fmla="*/ 169109 h 223961"/>
              <a:gd name="connsiteX37" fmla="*/ 590952 w 889143"/>
              <a:gd name="connsiteY37" fmla="*/ 169109 h 223961"/>
              <a:gd name="connsiteX38" fmla="*/ 491382 w 889143"/>
              <a:gd name="connsiteY38" fmla="*/ 60451 h 223961"/>
              <a:gd name="connsiteX39" fmla="*/ 561182 w 889143"/>
              <a:gd name="connsiteY39" fmla="*/ 60451 h 223961"/>
              <a:gd name="connsiteX40" fmla="*/ 561182 w 889143"/>
              <a:gd name="connsiteY40" fmla="*/ 75824 h 223961"/>
              <a:gd name="connsiteX41" fmla="*/ 508612 w 889143"/>
              <a:gd name="connsiteY41" fmla="*/ 75824 h 223961"/>
              <a:gd name="connsiteX42" fmla="*/ 508612 w 889143"/>
              <a:gd name="connsiteY42" fmla="*/ 106148 h 223961"/>
              <a:gd name="connsiteX43" fmla="*/ 556524 w 889143"/>
              <a:gd name="connsiteY43" fmla="*/ 106148 h 223961"/>
              <a:gd name="connsiteX44" fmla="*/ 556524 w 889143"/>
              <a:gd name="connsiteY44" fmla="*/ 121555 h 223961"/>
              <a:gd name="connsiteX45" fmla="*/ 508612 w 889143"/>
              <a:gd name="connsiteY45" fmla="*/ 121555 h 223961"/>
              <a:gd name="connsiteX46" fmla="*/ 508612 w 889143"/>
              <a:gd name="connsiteY46" fmla="*/ 153735 h 223961"/>
              <a:gd name="connsiteX47" fmla="*/ 561606 w 889143"/>
              <a:gd name="connsiteY47" fmla="*/ 153735 h 223961"/>
              <a:gd name="connsiteX48" fmla="*/ 561606 w 889143"/>
              <a:gd name="connsiteY48" fmla="*/ 169109 h 223961"/>
              <a:gd name="connsiteX49" fmla="*/ 491382 w 889143"/>
              <a:gd name="connsiteY49" fmla="*/ 169109 h 223961"/>
              <a:gd name="connsiteX50" fmla="*/ 371258 w 889143"/>
              <a:gd name="connsiteY50" fmla="*/ 60451 h 223961"/>
              <a:gd name="connsiteX51" fmla="*/ 405784 w 889143"/>
              <a:gd name="connsiteY51" fmla="*/ 60451 h 223961"/>
              <a:gd name="connsiteX52" fmla="*/ 435554 w 889143"/>
              <a:gd name="connsiteY52" fmla="*/ 66965 h 223961"/>
              <a:gd name="connsiteX53" fmla="*/ 454153 w 889143"/>
              <a:gd name="connsiteY53" fmla="*/ 83772 h 223961"/>
              <a:gd name="connsiteX54" fmla="*/ 463468 w 889143"/>
              <a:gd name="connsiteY54" fmla="*/ 115008 h 223961"/>
              <a:gd name="connsiteX55" fmla="*/ 463370 w 889143"/>
              <a:gd name="connsiteY55" fmla="*/ 115008 h 223961"/>
              <a:gd name="connsiteX56" fmla="*/ 443339 w 889143"/>
              <a:gd name="connsiteY56" fmla="*/ 156992 h 223961"/>
              <a:gd name="connsiteX57" fmla="*/ 405686 w 889143"/>
              <a:gd name="connsiteY57" fmla="*/ 169109 h 223961"/>
              <a:gd name="connsiteX58" fmla="*/ 371258 w 889143"/>
              <a:gd name="connsiteY58" fmla="*/ 169109 h 223961"/>
              <a:gd name="connsiteX59" fmla="*/ 319144 w 889143"/>
              <a:gd name="connsiteY59" fmla="*/ 60451 h 223961"/>
              <a:gd name="connsiteX60" fmla="*/ 335886 w 889143"/>
              <a:gd name="connsiteY60" fmla="*/ 60451 h 223961"/>
              <a:gd name="connsiteX61" fmla="*/ 335886 w 889143"/>
              <a:gd name="connsiteY61" fmla="*/ 169109 h 223961"/>
              <a:gd name="connsiteX62" fmla="*/ 319144 w 889143"/>
              <a:gd name="connsiteY62" fmla="*/ 169109 h 223961"/>
              <a:gd name="connsiteX63" fmla="*/ 184484 w 889143"/>
              <a:gd name="connsiteY63" fmla="*/ 0 h 223961"/>
              <a:gd name="connsiteX64" fmla="*/ 205623 w 889143"/>
              <a:gd name="connsiteY64" fmla="*/ 0 h 223961"/>
              <a:gd name="connsiteX65" fmla="*/ 265391 w 889143"/>
              <a:gd name="connsiteY65" fmla="*/ 111981 h 223961"/>
              <a:gd name="connsiteX66" fmla="*/ 205623 w 889143"/>
              <a:gd name="connsiteY66" fmla="*/ 223961 h 223961"/>
              <a:gd name="connsiteX67" fmla="*/ 184940 w 889143"/>
              <a:gd name="connsiteY67" fmla="*/ 223961 h 223961"/>
              <a:gd name="connsiteX68" fmla="*/ 244708 w 889143"/>
              <a:gd name="connsiteY68" fmla="*/ 111981 h 223961"/>
              <a:gd name="connsiteX69" fmla="*/ 144226 w 889143"/>
              <a:gd name="connsiteY69" fmla="*/ 0 h 223961"/>
              <a:gd name="connsiteX70" fmla="*/ 163475 w 889143"/>
              <a:gd name="connsiteY70" fmla="*/ 0 h 223961"/>
              <a:gd name="connsiteX71" fmla="*/ 185656 w 889143"/>
              <a:gd name="connsiteY71" fmla="*/ 111981 h 223961"/>
              <a:gd name="connsiteX72" fmla="*/ 163475 w 889143"/>
              <a:gd name="connsiteY72" fmla="*/ 223961 h 223961"/>
              <a:gd name="connsiteX73" fmla="*/ 144681 w 889143"/>
              <a:gd name="connsiteY73" fmla="*/ 223961 h 223961"/>
              <a:gd name="connsiteX74" fmla="*/ 167058 w 889143"/>
              <a:gd name="connsiteY74" fmla="*/ 111981 h 223961"/>
              <a:gd name="connsiteX75" fmla="*/ 101785 w 889143"/>
              <a:gd name="connsiteY75" fmla="*/ 0 h 223961"/>
              <a:gd name="connsiteX76" fmla="*/ 120384 w 889143"/>
              <a:gd name="connsiteY76" fmla="*/ 0 h 223961"/>
              <a:gd name="connsiteX77" fmla="*/ 98170 w 889143"/>
              <a:gd name="connsiteY77" fmla="*/ 111981 h 223961"/>
              <a:gd name="connsiteX78" fmla="*/ 120384 w 889143"/>
              <a:gd name="connsiteY78" fmla="*/ 223961 h 223961"/>
              <a:gd name="connsiteX79" fmla="*/ 101785 w 889143"/>
              <a:gd name="connsiteY79" fmla="*/ 223961 h 223961"/>
              <a:gd name="connsiteX80" fmla="*/ 79344 w 889143"/>
              <a:gd name="connsiteY80" fmla="*/ 111981 h 223961"/>
              <a:gd name="connsiteX81" fmla="*/ 59410 w 889143"/>
              <a:gd name="connsiteY81" fmla="*/ 0 h 223961"/>
              <a:gd name="connsiteX82" fmla="*/ 79735 w 889143"/>
              <a:gd name="connsiteY82" fmla="*/ 0 h 223961"/>
              <a:gd name="connsiteX83" fmla="*/ 20325 w 889143"/>
              <a:gd name="connsiteY83" fmla="*/ 111981 h 223961"/>
              <a:gd name="connsiteX84" fmla="*/ 79735 w 889143"/>
              <a:gd name="connsiteY84" fmla="*/ 223961 h 223961"/>
              <a:gd name="connsiteX85" fmla="*/ 59410 w 889143"/>
              <a:gd name="connsiteY85" fmla="*/ 223961 h 223961"/>
              <a:gd name="connsiteX86" fmla="*/ 0 w 889143"/>
              <a:gd name="connsiteY86" fmla="*/ 111981 h 223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889143" h="223961">
                <a:moveTo>
                  <a:pt x="835172" y="76769"/>
                </a:moveTo>
                <a:lnTo>
                  <a:pt x="814718" y="128525"/>
                </a:lnTo>
                <a:lnTo>
                  <a:pt x="855660" y="128525"/>
                </a:lnTo>
                <a:close/>
                <a:moveTo>
                  <a:pt x="388098" y="76313"/>
                </a:moveTo>
                <a:lnTo>
                  <a:pt x="388098" y="153247"/>
                </a:lnTo>
                <a:lnTo>
                  <a:pt x="405295" y="153247"/>
                </a:lnTo>
                <a:cubicBezTo>
                  <a:pt x="414845" y="153637"/>
                  <a:pt x="424226" y="150664"/>
                  <a:pt x="431809" y="144843"/>
                </a:cubicBezTo>
                <a:cubicBezTo>
                  <a:pt x="434932" y="142364"/>
                  <a:pt x="437610" y="139368"/>
                  <a:pt x="439723" y="135984"/>
                </a:cubicBezTo>
                <a:cubicBezTo>
                  <a:pt x="443766" y="129740"/>
                  <a:pt x="445873" y="122444"/>
                  <a:pt x="445782" y="115008"/>
                </a:cubicBezTo>
                <a:cubicBezTo>
                  <a:pt x="445837" y="103341"/>
                  <a:pt x="440720" y="92247"/>
                  <a:pt x="431809" y="84716"/>
                </a:cubicBezTo>
                <a:cubicBezTo>
                  <a:pt x="424226" y="78896"/>
                  <a:pt x="414845" y="75922"/>
                  <a:pt x="405295" y="76313"/>
                </a:cubicBezTo>
                <a:close/>
                <a:moveTo>
                  <a:pt x="825401" y="60451"/>
                </a:moveTo>
                <a:lnTo>
                  <a:pt x="845400" y="60451"/>
                </a:lnTo>
                <a:lnTo>
                  <a:pt x="889143" y="169109"/>
                </a:lnTo>
                <a:lnTo>
                  <a:pt x="871457" y="169109"/>
                </a:lnTo>
                <a:lnTo>
                  <a:pt x="861685" y="143475"/>
                </a:lnTo>
                <a:lnTo>
                  <a:pt x="808659" y="143475"/>
                </a:lnTo>
                <a:lnTo>
                  <a:pt x="798432" y="169109"/>
                </a:lnTo>
                <a:lnTo>
                  <a:pt x="780746" y="169109"/>
                </a:lnTo>
                <a:close/>
                <a:moveTo>
                  <a:pt x="742572" y="60451"/>
                </a:moveTo>
                <a:lnTo>
                  <a:pt x="759770" y="60451"/>
                </a:lnTo>
                <a:lnTo>
                  <a:pt x="759770" y="169109"/>
                </a:lnTo>
                <a:lnTo>
                  <a:pt x="742572" y="169109"/>
                </a:lnTo>
                <a:close/>
                <a:moveTo>
                  <a:pt x="590952" y="60451"/>
                </a:moveTo>
                <a:lnTo>
                  <a:pt x="613752" y="60451"/>
                </a:lnTo>
                <a:lnTo>
                  <a:pt x="649092" y="144387"/>
                </a:lnTo>
                <a:lnTo>
                  <a:pt x="683944" y="60451"/>
                </a:lnTo>
                <a:lnTo>
                  <a:pt x="707688" y="60451"/>
                </a:lnTo>
                <a:lnTo>
                  <a:pt x="707688" y="169109"/>
                </a:lnTo>
                <a:lnTo>
                  <a:pt x="690458" y="169044"/>
                </a:lnTo>
                <a:lnTo>
                  <a:pt x="690458" y="87420"/>
                </a:lnTo>
                <a:lnTo>
                  <a:pt x="690034" y="87420"/>
                </a:lnTo>
                <a:lnTo>
                  <a:pt x="655997" y="169109"/>
                </a:lnTo>
                <a:lnTo>
                  <a:pt x="641601" y="169109"/>
                </a:lnTo>
                <a:lnTo>
                  <a:pt x="608150" y="87973"/>
                </a:lnTo>
                <a:lnTo>
                  <a:pt x="607694" y="87973"/>
                </a:lnTo>
                <a:lnTo>
                  <a:pt x="607694" y="169109"/>
                </a:lnTo>
                <a:lnTo>
                  <a:pt x="590952" y="169109"/>
                </a:lnTo>
                <a:close/>
                <a:moveTo>
                  <a:pt x="491382" y="60451"/>
                </a:moveTo>
                <a:lnTo>
                  <a:pt x="561182" y="60451"/>
                </a:lnTo>
                <a:lnTo>
                  <a:pt x="561182" y="75824"/>
                </a:lnTo>
                <a:lnTo>
                  <a:pt x="508612" y="75824"/>
                </a:lnTo>
                <a:lnTo>
                  <a:pt x="508612" y="106148"/>
                </a:lnTo>
                <a:lnTo>
                  <a:pt x="556524" y="106148"/>
                </a:lnTo>
                <a:lnTo>
                  <a:pt x="556524" y="121555"/>
                </a:lnTo>
                <a:lnTo>
                  <a:pt x="508612" y="121555"/>
                </a:lnTo>
                <a:lnTo>
                  <a:pt x="508612" y="153735"/>
                </a:lnTo>
                <a:lnTo>
                  <a:pt x="561606" y="153735"/>
                </a:lnTo>
                <a:lnTo>
                  <a:pt x="561606" y="169109"/>
                </a:lnTo>
                <a:lnTo>
                  <a:pt x="491382" y="169109"/>
                </a:lnTo>
                <a:close/>
                <a:moveTo>
                  <a:pt x="371258" y="60451"/>
                </a:moveTo>
                <a:lnTo>
                  <a:pt x="405784" y="60451"/>
                </a:lnTo>
                <a:cubicBezTo>
                  <a:pt x="416087" y="60203"/>
                  <a:pt x="426298" y="62437"/>
                  <a:pt x="435554" y="66965"/>
                </a:cubicBezTo>
                <a:cubicBezTo>
                  <a:pt x="443069" y="70916"/>
                  <a:pt x="449462" y="76697"/>
                  <a:pt x="454153" y="83772"/>
                </a:cubicBezTo>
                <a:cubicBezTo>
                  <a:pt x="460188" y="93074"/>
                  <a:pt x="463422" y="103917"/>
                  <a:pt x="463468" y="115008"/>
                </a:cubicBezTo>
                <a:lnTo>
                  <a:pt x="463370" y="115008"/>
                </a:lnTo>
                <a:cubicBezTo>
                  <a:pt x="463566" y="131352"/>
                  <a:pt x="456166" y="146863"/>
                  <a:pt x="443339" y="156992"/>
                </a:cubicBezTo>
                <a:cubicBezTo>
                  <a:pt x="435001" y="164451"/>
                  <a:pt x="421484" y="169109"/>
                  <a:pt x="405686" y="169109"/>
                </a:cubicBezTo>
                <a:lnTo>
                  <a:pt x="371258" y="169109"/>
                </a:lnTo>
                <a:close/>
                <a:moveTo>
                  <a:pt x="319144" y="60451"/>
                </a:moveTo>
                <a:lnTo>
                  <a:pt x="335886" y="60451"/>
                </a:lnTo>
                <a:lnTo>
                  <a:pt x="335886" y="169109"/>
                </a:lnTo>
                <a:lnTo>
                  <a:pt x="319144" y="169109"/>
                </a:lnTo>
                <a:close/>
                <a:moveTo>
                  <a:pt x="184484" y="0"/>
                </a:moveTo>
                <a:lnTo>
                  <a:pt x="205623" y="0"/>
                </a:lnTo>
                <a:lnTo>
                  <a:pt x="265391" y="111981"/>
                </a:lnTo>
                <a:lnTo>
                  <a:pt x="205623" y="223961"/>
                </a:lnTo>
                <a:lnTo>
                  <a:pt x="184940" y="223961"/>
                </a:lnTo>
                <a:lnTo>
                  <a:pt x="244708" y="111981"/>
                </a:lnTo>
                <a:close/>
                <a:moveTo>
                  <a:pt x="144226" y="0"/>
                </a:moveTo>
                <a:lnTo>
                  <a:pt x="163475" y="0"/>
                </a:lnTo>
                <a:lnTo>
                  <a:pt x="185656" y="111981"/>
                </a:lnTo>
                <a:lnTo>
                  <a:pt x="163475" y="223961"/>
                </a:lnTo>
                <a:lnTo>
                  <a:pt x="144681" y="223961"/>
                </a:lnTo>
                <a:lnTo>
                  <a:pt x="167058" y="111981"/>
                </a:lnTo>
                <a:close/>
                <a:moveTo>
                  <a:pt x="101785" y="0"/>
                </a:moveTo>
                <a:lnTo>
                  <a:pt x="120384" y="0"/>
                </a:lnTo>
                <a:lnTo>
                  <a:pt x="98170" y="111981"/>
                </a:lnTo>
                <a:lnTo>
                  <a:pt x="120384" y="223961"/>
                </a:lnTo>
                <a:lnTo>
                  <a:pt x="101785" y="223961"/>
                </a:lnTo>
                <a:lnTo>
                  <a:pt x="79344" y="111981"/>
                </a:lnTo>
                <a:close/>
                <a:moveTo>
                  <a:pt x="59410" y="0"/>
                </a:moveTo>
                <a:lnTo>
                  <a:pt x="79735" y="0"/>
                </a:lnTo>
                <a:lnTo>
                  <a:pt x="20325" y="111981"/>
                </a:lnTo>
                <a:lnTo>
                  <a:pt x="79735" y="223961"/>
                </a:lnTo>
                <a:lnTo>
                  <a:pt x="59410" y="223961"/>
                </a:lnTo>
                <a:lnTo>
                  <a:pt x="0" y="111981"/>
                </a:lnTo>
                <a:close/>
              </a:path>
            </a:pathLst>
          </a:custGeom>
          <a:solidFill>
            <a:schemeClr val="bg1"/>
          </a:solidFill>
          <a:effectLst/>
        </p:spPr>
        <p:txBody>
          <a:bodyPr wrap="square" lIns="0" tIns="0" rIns="0" bIns="0"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100" b="0">
                <a:noFill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100" b="0">
                <a:noFill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100" b="0">
                <a:noFill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100" b="0">
                <a:noFill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100" b="0">
                <a:noFill/>
              </a:defRPr>
            </a:lvl9pPr>
          </a:lstStyle>
          <a:p>
            <a:pPr lvl="0"/>
            <a:r>
              <a:rPr lang="en-US" dirty="0"/>
              <a:t>01</a:t>
            </a:r>
          </a:p>
          <a:p>
            <a:pPr lvl="1"/>
            <a:r>
              <a:rPr lang="en-US" dirty="0"/>
              <a:t>02</a:t>
            </a:r>
          </a:p>
          <a:p>
            <a:pPr lvl="2"/>
            <a:r>
              <a:rPr lang="en-US" dirty="0"/>
              <a:t>03</a:t>
            </a:r>
          </a:p>
          <a:p>
            <a:pPr lvl="3"/>
            <a:r>
              <a:rPr lang="en-US" dirty="0"/>
              <a:t>04</a:t>
            </a:r>
          </a:p>
          <a:p>
            <a:pPr lvl="4"/>
            <a:r>
              <a:rPr lang="en-US" dirty="0"/>
              <a:t>05</a:t>
            </a:r>
          </a:p>
          <a:p>
            <a:pPr lvl="5"/>
            <a:r>
              <a:rPr lang="en-US" dirty="0"/>
              <a:t>06 </a:t>
            </a:r>
          </a:p>
          <a:p>
            <a:pPr lvl="6"/>
            <a:r>
              <a:rPr lang="en-US" dirty="0"/>
              <a:t>07</a:t>
            </a:r>
          </a:p>
          <a:p>
            <a:pPr lvl="7"/>
            <a:r>
              <a:rPr lang="en-US" dirty="0"/>
              <a:t>08</a:t>
            </a:r>
          </a:p>
          <a:p>
            <a:pPr lvl="8"/>
            <a:r>
              <a:rPr lang="en-US" dirty="0"/>
              <a:t>09</a:t>
            </a: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347C045E-A837-4C81-A071-F63F617D226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67732" y="1"/>
            <a:ext cx="885600" cy="1138181"/>
            <a:chOff x="608663" y="3130115"/>
            <a:chExt cx="1033869" cy="1328738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4D04C19-21DE-40E0-9F9A-4AF90166569D}"/>
                </a:ext>
              </a:extLst>
            </p:cNvPr>
            <p:cNvSpPr/>
            <p:nvPr/>
          </p:nvSpPr>
          <p:spPr>
            <a:xfrm>
              <a:off x="608663" y="3130115"/>
              <a:ext cx="1033869" cy="13287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1000" sy="101000" algn="ctr" rotWithShape="0">
                <a:schemeClr val="accent4"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dirty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26" name="Graphique 81">
              <a:extLst>
                <a:ext uri="{FF2B5EF4-FFF2-40B4-BE49-F238E27FC236}">
                  <a16:creationId xmlns:a16="http://schemas.microsoft.com/office/drawing/2014/main" id="{02E53EFA-4258-4C57-BD91-68875C97A51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9864" y="3629009"/>
              <a:ext cx="271466" cy="529187"/>
              <a:chOff x="2389465" y="1817499"/>
              <a:chExt cx="321335" cy="626400"/>
            </a:xfrm>
          </p:grpSpPr>
          <p:sp>
            <p:nvSpPr>
              <p:cNvPr id="27" name="Forme libre : forme 26">
                <a:extLst>
                  <a:ext uri="{FF2B5EF4-FFF2-40B4-BE49-F238E27FC236}">
                    <a16:creationId xmlns:a16="http://schemas.microsoft.com/office/drawing/2014/main" id="{59704033-0A75-48DB-A040-4BDA963B7B40}"/>
                  </a:ext>
                </a:extLst>
              </p:cNvPr>
              <p:cNvSpPr/>
              <p:nvPr/>
            </p:nvSpPr>
            <p:spPr>
              <a:xfrm>
                <a:off x="2563032" y="1817499"/>
                <a:ext cx="142945" cy="208025"/>
              </a:xfrm>
              <a:custGeom>
                <a:avLst/>
                <a:gdLst>
                  <a:gd name="connsiteX0" fmla="*/ 143119 w 142944"/>
                  <a:gd name="connsiteY0" fmla="*/ 208548 h 208025"/>
                  <a:gd name="connsiteX1" fmla="*/ 0 w 142944"/>
                  <a:gd name="connsiteY1" fmla="*/ 52820 h 208025"/>
                  <a:gd name="connsiteX2" fmla="*/ 0 w 142944"/>
                  <a:gd name="connsiteY2" fmla="*/ 0 h 208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944" h="208025">
                    <a:moveTo>
                      <a:pt x="143119" y="208548"/>
                    </a:moveTo>
                    <a:cubicBezTo>
                      <a:pt x="143119" y="126558"/>
                      <a:pt x="80130" y="59444"/>
                      <a:pt x="0" y="52820"/>
                    </a:cubicBez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8" name="Forme libre : forme 27">
                <a:extLst>
                  <a:ext uri="{FF2B5EF4-FFF2-40B4-BE49-F238E27FC236}">
                    <a16:creationId xmlns:a16="http://schemas.microsoft.com/office/drawing/2014/main" id="{7942E6F2-4B53-45B8-84C5-C7ADDDE1BCFD}"/>
                  </a:ext>
                </a:extLst>
              </p:cNvPr>
              <p:cNvSpPr/>
              <p:nvPr/>
            </p:nvSpPr>
            <p:spPr>
              <a:xfrm>
                <a:off x="2393823" y="1817499"/>
                <a:ext cx="259741" cy="521225"/>
              </a:xfrm>
              <a:custGeom>
                <a:avLst/>
                <a:gdLst>
                  <a:gd name="connsiteX0" fmla="*/ 143119 w 259740"/>
                  <a:gd name="connsiteY0" fmla="*/ 0 h 521225"/>
                  <a:gd name="connsiteX1" fmla="*/ 143119 w 259740"/>
                  <a:gd name="connsiteY1" fmla="*/ 52820 h 521225"/>
                  <a:gd name="connsiteX2" fmla="*/ 0 w 259740"/>
                  <a:gd name="connsiteY2" fmla="*/ 208548 h 521225"/>
                  <a:gd name="connsiteX3" fmla="*/ 156135 w 259740"/>
                  <a:gd name="connsiteY3" fmla="*/ 365264 h 521225"/>
                  <a:gd name="connsiteX4" fmla="*/ 208141 w 259740"/>
                  <a:gd name="connsiteY4" fmla="*/ 417561 h 521225"/>
                  <a:gd name="connsiteX5" fmla="*/ 156135 w 259740"/>
                  <a:gd name="connsiteY5" fmla="*/ 469568 h 521225"/>
                  <a:gd name="connsiteX6" fmla="*/ 104129 w 259740"/>
                  <a:gd name="connsiteY6" fmla="*/ 417561 h 521225"/>
                  <a:gd name="connsiteX7" fmla="*/ 52181 w 259740"/>
                  <a:gd name="connsiteY7" fmla="*/ 417503 h 521225"/>
                  <a:gd name="connsiteX8" fmla="*/ 156135 w 259740"/>
                  <a:gd name="connsiteY8" fmla="*/ 521458 h 521225"/>
                  <a:gd name="connsiteX9" fmla="*/ 260090 w 259740"/>
                  <a:gd name="connsiteY9" fmla="*/ 417503 h 521225"/>
                  <a:gd name="connsiteX10" fmla="*/ 156135 w 259740"/>
                  <a:gd name="connsiteY10" fmla="*/ 313142 h 521225"/>
                  <a:gd name="connsiteX11" fmla="*/ 52181 w 259740"/>
                  <a:gd name="connsiteY11" fmla="*/ 208781 h 521225"/>
                  <a:gd name="connsiteX12" fmla="*/ 156135 w 259740"/>
                  <a:gd name="connsiteY12" fmla="*/ 104826 h 521225"/>
                  <a:gd name="connsiteX13" fmla="*/ 260090 w 259740"/>
                  <a:gd name="connsiteY13" fmla="*/ 208781 h 521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9740" h="521225">
                    <a:moveTo>
                      <a:pt x="143119" y="0"/>
                    </a:moveTo>
                    <a:lnTo>
                      <a:pt x="143119" y="52820"/>
                    </a:lnTo>
                    <a:cubicBezTo>
                      <a:pt x="62989" y="59444"/>
                      <a:pt x="0" y="126558"/>
                      <a:pt x="0" y="208548"/>
                    </a:cubicBezTo>
                    <a:cubicBezTo>
                      <a:pt x="0" y="294896"/>
                      <a:pt x="69903" y="365264"/>
                      <a:pt x="156135" y="365264"/>
                    </a:cubicBezTo>
                    <a:cubicBezTo>
                      <a:pt x="184840" y="365264"/>
                      <a:pt x="208141" y="388856"/>
                      <a:pt x="208141" y="417561"/>
                    </a:cubicBezTo>
                    <a:cubicBezTo>
                      <a:pt x="208141" y="446266"/>
                      <a:pt x="184840" y="469568"/>
                      <a:pt x="156135" y="469568"/>
                    </a:cubicBezTo>
                    <a:cubicBezTo>
                      <a:pt x="127430" y="469568"/>
                      <a:pt x="104129" y="446325"/>
                      <a:pt x="104129" y="417561"/>
                    </a:cubicBezTo>
                    <a:moveTo>
                      <a:pt x="52181" y="417503"/>
                    </a:moveTo>
                    <a:cubicBezTo>
                      <a:pt x="52181" y="474913"/>
                      <a:pt x="98725" y="521458"/>
                      <a:pt x="156135" y="521458"/>
                    </a:cubicBezTo>
                    <a:cubicBezTo>
                      <a:pt x="213545" y="521458"/>
                      <a:pt x="260090" y="474913"/>
                      <a:pt x="260090" y="417503"/>
                    </a:cubicBezTo>
                    <a:cubicBezTo>
                      <a:pt x="260090" y="360093"/>
                      <a:pt x="213545" y="313142"/>
                      <a:pt x="156135" y="313142"/>
                    </a:cubicBezTo>
                    <a:cubicBezTo>
                      <a:pt x="98725" y="313142"/>
                      <a:pt x="52181" y="266191"/>
                      <a:pt x="52181" y="208781"/>
                    </a:cubicBezTo>
                    <a:cubicBezTo>
                      <a:pt x="52181" y="151370"/>
                      <a:pt x="98725" y="104826"/>
                      <a:pt x="156135" y="104826"/>
                    </a:cubicBezTo>
                    <a:cubicBezTo>
                      <a:pt x="213545" y="104826"/>
                      <a:pt x="260090" y="151370"/>
                      <a:pt x="260090" y="208781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9" name="Forme libre : forme 28">
                <a:extLst>
                  <a:ext uri="{FF2B5EF4-FFF2-40B4-BE49-F238E27FC236}">
                    <a16:creationId xmlns:a16="http://schemas.microsoft.com/office/drawing/2014/main" id="{7FFA8DFE-D7DA-403A-9778-10A92F8144AA}"/>
                  </a:ext>
                </a:extLst>
              </p:cNvPr>
              <p:cNvSpPr/>
              <p:nvPr/>
            </p:nvSpPr>
            <p:spPr>
              <a:xfrm>
                <a:off x="2393823" y="1974273"/>
                <a:ext cx="312038" cy="469509"/>
              </a:xfrm>
              <a:custGeom>
                <a:avLst/>
                <a:gdLst>
                  <a:gd name="connsiteX0" fmla="*/ 0 w 312037"/>
                  <a:gd name="connsiteY0" fmla="*/ 261019 h 469509"/>
                  <a:gd name="connsiteX1" fmla="*/ 143119 w 312037"/>
                  <a:gd name="connsiteY1" fmla="*/ 416748 h 469509"/>
                  <a:gd name="connsiteX2" fmla="*/ 143119 w 312037"/>
                  <a:gd name="connsiteY2" fmla="*/ 469568 h 469509"/>
                  <a:gd name="connsiteX3" fmla="*/ 169151 w 312037"/>
                  <a:gd name="connsiteY3" fmla="*/ 469510 h 469509"/>
                  <a:gd name="connsiteX4" fmla="*/ 169151 w 312037"/>
                  <a:gd name="connsiteY4" fmla="*/ 416748 h 469509"/>
                  <a:gd name="connsiteX5" fmla="*/ 312328 w 312037"/>
                  <a:gd name="connsiteY5" fmla="*/ 261019 h 469509"/>
                  <a:gd name="connsiteX6" fmla="*/ 156193 w 312037"/>
                  <a:gd name="connsiteY6" fmla="*/ 104303 h 469509"/>
                  <a:gd name="connsiteX7" fmla="*/ 104187 w 312037"/>
                  <a:gd name="connsiteY7" fmla="*/ 52006 h 469509"/>
                  <a:gd name="connsiteX8" fmla="*/ 156193 w 312037"/>
                  <a:gd name="connsiteY8" fmla="*/ 0 h 469509"/>
                  <a:gd name="connsiteX9" fmla="*/ 208200 w 312037"/>
                  <a:gd name="connsiteY9" fmla="*/ 52006 h 469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2037" h="469509">
                    <a:moveTo>
                      <a:pt x="0" y="261019"/>
                    </a:moveTo>
                    <a:cubicBezTo>
                      <a:pt x="0" y="343009"/>
                      <a:pt x="62989" y="410123"/>
                      <a:pt x="143119" y="416748"/>
                    </a:cubicBezTo>
                    <a:lnTo>
                      <a:pt x="143119" y="469568"/>
                    </a:lnTo>
                    <a:moveTo>
                      <a:pt x="169151" y="469510"/>
                    </a:moveTo>
                    <a:lnTo>
                      <a:pt x="169151" y="416748"/>
                    </a:lnTo>
                    <a:cubicBezTo>
                      <a:pt x="249282" y="410065"/>
                      <a:pt x="312328" y="342951"/>
                      <a:pt x="312328" y="261019"/>
                    </a:cubicBezTo>
                    <a:cubicBezTo>
                      <a:pt x="312328" y="174613"/>
                      <a:pt x="242425" y="104303"/>
                      <a:pt x="156193" y="104303"/>
                    </a:cubicBezTo>
                    <a:cubicBezTo>
                      <a:pt x="127488" y="104303"/>
                      <a:pt x="104187" y="80711"/>
                      <a:pt x="104187" y="52006"/>
                    </a:cubicBezTo>
                    <a:cubicBezTo>
                      <a:pt x="104187" y="23301"/>
                      <a:pt x="127488" y="0"/>
                      <a:pt x="156193" y="0"/>
                    </a:cubicBezTo>
                    <a:cubicBezTo>
                      <a:pt x="184898" y="0"/>
                      <a:pt x="208200" y="23301"/>
                      <a:pt x="208200" y="52006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9ED3D593-64AE-4F69-A95F-BA4BBEF94A97}"/>
              </a:ext>
            </a:extLst>
          </p:cNvPr>
          <p:cNvSpPr>
            <a:spLocks noGrp="1"/>
          </p:cNvSpPr>
          <p:nvPr>
            <p:ph type="dt" sz="half" idx="4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8523F71-CA5D-434D-A2F4-603B802C45A0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C0C9950-75C1-46A2-98B0-8E61AD31ABA4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08C0D02-1316-4C93-A6FC-5766CEEA825F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2519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to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pour une image  8">
            <a:extLst>
              <a:ext uri="{FF2B5EF4-FFF2-40B4-BE49-F238E27FC236}">
                <a16:creationId xmlns:a16="http://schemas.microsoft.com/office/drawing/2014/main" id="{18818745-B376-4E79-B145-460BE1ACD90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080000" y="0"/>
            <a:ext cx="5112000" cy="6858000"/>
          </a:xfrm>
          <a:prstGeom prst="rect">
            <a:avLst/>
          </a:prstGeom>
          <a:solidFill>
            <a:schemeClr val="tx2"/>
          </a:solidFill>
          <a:effectLst>
            <a:outerShdw blurRad="254000" algn="ctr" rotWithShape="0">
              <a:schemeClr val="accent4">
                <a:alpha val="20000"/>
              </a:schemeClr>
            </a:outerShdw>
          </a:effectLst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200">
                <a:solidFill>
                  <a:schemeClr val="bg1"/>
                </a:solidFill>
              </a:defRPr>
            </a:lvl1pPr>
          </a:lstStyle>
          <a:p>
            <a:pPr marL="146300" lvl="0" indent="-146300" algn="ctr"/>
            <a:r>
              <a:rPr lang="en-US" dirty="0"/>
              <a:t>Image</a:t>
            </a: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18F1FE93-E7D3-4ED9-97B9-B1FD569B5F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64" y="293065"/>
            <a:ext cx="5651536" cy="961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9FA0099B-9F48-4AD3-BF82-C2ECA534EC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1317600"/>
            <a:ext cx="5651536" cy="295465"/>
          </a:xfrm>
          <a:noFill/>
          <a:effectLst/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BA6A2EF4-A0A5-4A0A-AA5F-C92EF09A2B69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fld id="{BA16B279-A6EE-4708-9F41-658678E6FF11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3E91DC4-7860-43A2-A5CB-41B1DC55BDE5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63486F9-0995-474A-B1DE-91B4313A95E6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6" name="Group 6">
            <a:extLst>
              <a:ext uri="{FF2B5EF4-FFF2-40B4-BE49-F238E27FC236}">
                <a16:creationId xmlns:a16="http://schemas.microsoft.com/office/drawing/2014/main" id="{63BCEA0A-6B2B-4070-86DF-174130F17082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3DE8669D-E4BB-477C-A1D9-F7442491997A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69FADD54-AF88-4098-AA4C-4EF16DFA216C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D3F76A74-0C9D-4C0A-AF39-6BB3E72FB0FB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1331D509-1B7D-44DB-BAA8-BEEC470CE84B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5FD376F2-0E57-4519-9587-A534FAA13108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45464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Background with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9AE3442-BFE6-4646-8780-4DEDEE6028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430099">
                  <a:alpha val="90000"/>
                </a:srgbClr>
              </a:gs>
              <a:gs pos="100000">
                <a:schemeClr val="tx2">
                  <a:alpha val="0"/>
                </a:schemeClr>
              </a:gs>
              <a:gs pos="36000">
                <a:schemeClr val="tx2">
                  <a:alpha val="60000"/>
                </a:schemeClr>
              </a:gs>
            </a:gsLst>
            <a:lin ang="189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18F1FE93-E7D3-4ED9-97B9-B1FD569B5F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64" y="293065"/>
            <a:ext cx="5651536" cy="4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9FA0099B-9F48-4AD3-BF82-C2ECA534EC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5651536" cy="295465"/>
          </a:xfrm>
          <a:noFill/>
          <a:effectLst/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chemeClr val="bg1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D22F546-80E3-4E9C-BD7E-3846DBBDD8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400" y="1558800"/>
            <a:ext cx="5630400" cy="4730400"/>
          </a:xfrm>
        </p:spPr>
        <p:txBody>
          <a:bodyPr/>
          <a:lstStyle>
            <a:lvl1pPr marL="146300" indent="-1463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 marL="768077" indent="-1463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grpSp>
        <p:nvGrpSpPr>
          <p:cNvPr id="18" name="Group 6">
            <a:extLst>
              <a:ext uri="{FF2B5EF4-FFF2-40B4-BE49-F238E27FC236}">
                <a16:creationId xmlns:a16="http://schemas.microsoft.com/office/drawing/2014/main" id="{D643B8A4-A269-48EB-99D1-0EA5BEB31CA8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bg1"/>
          </a:soli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D5683363-FEFF-4E55-92E2-A66451135E68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7BA0F2F-87D4-40D5-8BDA-9F56C60AF5A7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C876B6F7-3FFB-4813-BCF9-A2BFDC5A2D24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CE18245A-8AFF-4399-90EB-9D53172F92CE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E72C2B43-180A-46D3-B427-F077B90AB2B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BDCC86D-DCA4-499A-AC30-8DED39FFA56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57D640-1E4B-4D98-AFB0-4A282C1649F3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D32FEC0-25EE-4842-96AC-B8146089CBE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| Title of document 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F3CDFBD-BE5D-4677-96CF-864C72B072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70925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out B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8667" y="1559985"/>
            <a:ext cx="11514667" cy="4728633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C05687A3-E7FA-46E9-958A-EB5258B07F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15344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FEEA58F-C999-4668-BDD4-E63BB73AF6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64" y="293065"/>
            <a:ext cx="11534400" cy="480000"/>
          </a:xfrm>
        </p:spPr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2338515-32FB-43CB-A11F-C68B4EAA2E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ACAA902-419D-4481-9B9A-92B66D437A3E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931137A-193F-4F97-A677-E144875C0B1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BA80F1D-EBDD-438E-AF05-088EC4095E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6">
            <a:extLst>
              <a:ext uri="{FF2B5EF4-FFF2-40B4-BE49-F238E27FC236}">
                <a16:creationId xmlns:a16="http://schemas.microsoft.com/office/drawing/2014/main" id="{4B48CAE1-872D-4B95-A3DA-4400B8FEC7B7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4CE2C83A-47B4-402D-8BBD-E5696B874CB3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E34EDB9B-F34A-4567-BFC8-E9CD1B3F4FCC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2D4DC72-31C7-4761-8FE3-060C88FC87D6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4E6F5114-20B9-4784-9144-167CA675807B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6C9ADF66-6EAB-47B4-B705-142803321F2C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21935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out B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2">
            <a:extLst>
              <a:ext uri="{FF2B5EF4-FFF2-40B4-BE49-F238E27FC236}">
                <a16:creationId xmlns:a16="http://schemas.microsoft.com/office/drawing/2014/main" id="{18F1FE93-E7D3-4ED9-97B9-B1FD569B5F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64" y="293065"/>
            <a:ext cx="11534400" cy="480000"/>
          </a:xfrm>
        </p:spPr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9FA0099B-9F48-4AD3-BF82-C2ECA534EC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15344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A24427B0-6256-4686-A67F-12DA7DAA3F1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4A27692-C958-48E1-A367-4705894A5457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0F9B277-1EB1-486A-BB5D-6343B660C1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DA50178-8A69-4C4D-A957-CC01DB16CEC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A24748F-FD4A-488F-A797-50EEF06B10B8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B5734B5-BDCE-4A35-A62E-65DF8313CF6E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EAC0DF3A-705B-404D-8C69-11D98C5BF0E4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B5C5821B-6A39-4CD4-AF81-9503681160CA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D33F87FD-711A-4F13-AF82-E0AF418730E1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DE17E9EA-61D8-416F-AF5E-1C01E3964A72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35206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97CD712D-6C60-47B5-B14C-2D71F85752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3B481B-AA56-49EF-9CFF-50C149C8228F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DD496E1A-F675-4C4B-90F4-4D035D0436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470C906-632E-4599-833F-3CBFA9DA5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B8CDC663-7C32-4DEB-AC64-943D070A4558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35FFB9A1-1E67-4F85-B8E1-56555243A33C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F5BE1EC-F4B8-454E-9148-77ABE86A5022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3E4B1B5-D84E-4C30-8DD2-AD9A682B963F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D392EC50-38B8-4A91-8182-21C6DE2563E8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8437E8F0-E1D3-40D1-BC6C-225A8D4CAAC4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45969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10">
            <a:extLst>
              <a:ext uri="{FF2B5EF4-FFF2-40B4-BE49-F238E27FC236}">
                <a16:creationId xmlns:a16="http://schemas.microsoft.com/office/drawing/2014/main" id="{7F994166-2371-42CB-ACCC-B0F05A6D4B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00800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854A2ED3-64C3-4245-B297-3BE13D3DE0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667" y="4037417"/>
            <a:ext cx="11515200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1BB97183-7A21-4FB4-BD44-35034B1238E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8667" y="1559985"/>
            <a:ext cx="11515200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89BF555F-1EF6-41A0-8C06-22D022CCD7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A0FE74EB-6642-4A78-B92B-7841A526563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67732" y="1"/>
            <a:ext cx="885600" cy="1138181"/>
            <a:chOff x="608663" y="3130115"/>
            <a:chExt cx="1033869" cy="132873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C0F3096-AE97-4103-A1B0-DC41CFCB8A05}"/>
                </a:ext>
              </a:extLst>
            </p:cNvPr>
            <p:cNvSpPr/>
            <p:nvPr/>
          </p:nvSpPr>
          <p:spPr>
            <a:xfrm>
              <a:off x="608663" y="3130115"/>
              <a:ext cx="1033869" cy="13287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1000" sy="101000" algn="ctr" rotWithShape="0">
                <a:schemeClr val="accent4"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dirty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14" name="Graphique 81">
              <a:extLst>
                <a:ext uri="{FF2B5EF4-FFF2-40B4-BE49-F238E27FC236}">
                  <a16:creationId xmlns:a16="http://schemas.microsoft.com/office/drawing/2014/main" id="{666D2516-66D7-48AE-A111-0CBDBC37023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9864" y="3629009"/>
              <a:ext cx="271466" cy="529187"/>
              <a:chOff x="2389465" y="1817499"/>
              <a:chExt cx="321335" cy="626400"/>
            </a:xfrm>
          </p:grpSpPr>
          <p:sp>
            <p:nvSpPr>
              <p:cNvPr id="15" name="Forme libre : forme 14">
                <a:extLst>
                  <a:ext uri="{FF2B5EF4-FFF2-40B4-BE49-F238E27FC236}">
                    <a16:creationId xmlns:a16="http://schemas.microsoft.com/office/drawing/2014/main" id="{DC01EFFD-C08C-4167-B184-06AD1E9B0C34}"/>
                  </a:ext>
                </a:extLst>
              </p:cNvPr>
              <p:cNvSpPr/>
              <p:nvPr/>
            </p:nvSpPr>
            <p:spPr>
              <a:xfrm>
                <a:off x="2563032" y="1817499"/>
                <a:ext cx="142945" cy="208025"/>
              </a:xfrm>
              <a:custGeom>
                <a:avLst/>
                <a:gdLst>
                  <a:gd name="connsiteX0" fmla="*/ 143119 w 142944"/>
                  <a:gd name="connsiteY0" fmla="*/ 208548 h 208025"/>
                  <a:gd name="connsiteX1" fmla="*/ 0 w 142944"/>
                  <a:gd name="connsiteY1" fmla="*/ 52820 h 208025"/>
                  <a:gd name="connsiteX2" fmla="*/ 0 w 142944"/>
                  <a:gd name="connsiteY2" fmla="*/ 0 h 208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944" h="208025">
                    <a:moveTo>
                      <a:pt x="143119" y="208548"/>
                    </a:moveTo>
                    <a:cubicBezTo>
                      <a:pt x="143119" y="126558"/>
                      <a:pt x="80130" y="59444"/>
                      <a:pt x="0" y="52820"/>
                    </a:cubicBez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2" name="Forme libre : forme 21">
                <a:extLst>
                  <a:ext uri="{FF2B5EF4-FFF2-40B4-BE49-F238E27FC236}">
                    <a16:creationId xmlns:a16="http://schemas.microsoft.com/office/drawing/2014/main" id="{AFCA6952-DBE4-4C31-8CBB-D00C874F01A6}"/>
                  </a:ext>
                </a:extLst>
              </p:cNvPr>
              <p:cNvSpPr/>
              <p:nvPr/>
            </p:nvSpPr>
            <p:spPr>
              <a:xfrm>
                <a:off x="2393823" y="1817499"/>
                <a:ext cx="259741" cy="521225"/>
              </a:xfrm>
              <a:custGeom>
                <a:avLst/>
                <a:gdLst>
                  <a:gd name="connsiteX0" fmla="*/ 143119 w 259740"/>
                  <a:gd name="connsiteY0" fmla="*/ 0 h 521225"/>
                  <a:gd name="connsiteX1" fmla="*/ 143119 w 259740"/>
                  <a:gd name="connsiteY1" fmla="*/ 52820 h 521225"/>
                  <a:gd name="connsiteX2" fmla="*/ 0 w 259740"/>
                  <a:gd name="connsiteY2" fmla="*/ 208548 h 521225"/>
                  <a:gd name="connsiteX3" fmla="*/ 156135 w 259740"/>
                  <a:gd name="connsiteY3" fmla="*/ 365264 h 521225"/>
                  <a:gd name="connsiteX4" fmla="*/ 208141 w 259740"/>
                  <a:gd name="connsiteY4" fmla="*/ 417561 h 521225"/>
                  <a:gd name="connsiteX5" fmla="*/ 156135 w 259740"/>
                  <a:gd name="connsiteY5" fmla="*/ 469568 h 521225"/>
                  <a:gd name="connsiteX6" fmla="*/ 104129 w 259740"/>
                  <a:gd name="connsiteY6" fmla="*/ 417561 h 521225"/>
                  <a:gd name="connsiteX7" fmla="*/ 52181 w 259740"/>
                  <a:gd name="connsiteY7" fmla="*/ 417503 h 521225"/>
                  <a:gd name="connsiteX8" fmla="*/ 156135 w 259740"/>
                  <a:gd name="connsiteY8" fmla="*/ 521458 h 521225"/>
                  <a:gd name="connsiteX9" fmla="*/ 260090 w 259740"/>
                  <a:gd name="connsiteY9" fmla="*/ 417503 h 521225"/>
                  <a:gd name="connsiteX10" fmla="*/ 156135 w 259740"/>
                  <a:gd name="connsiteY10" fmla="*/ 313142 h 521225"/>
                  <a:gd name="connsiteX11" fmla="*/ 52181 w 259740"/>
                  <a:gd name="connsiteY11" fmla="*/ 208781 h 521225"/>
                  <a:gd name="connsiteX12" fmla="*/ 156135 w 259740"/>
                  <a:gd name="connsiteY12" fmla="*/ 104826 h 521225"/>
                  <a:gd name="connsiteX13" fmla="*/ 260090 w 259740"/>
                  <a:gd name="connsiteY13" fmla="*/ 208781 h 521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9740" h="521225">
                    <a:moveTo>
                      <a:pt x="143119" y="0"/>
                    </a:moveTo>
                    <a:lnTo>
                      <a:pt x="143119" y="52820"/>
                    </a:lnTo>
                    <a:cubicBezTo>
                      <a:pt x="62989" y="59444"/>
                      <a:pt x="0" y="126558"/>
                      <a:pt x="0" y="208548"/>
                    </a:cubicBezTo>
                    <a:cubicBezTo>
                      <a:pt x="0" y="294896"/>
                      <a:pt x="69903" y="365264"/>
                      <a:pt x="156135" y="365264"/>
                    </a:cubicBezTo>
                    <a:cubicBezTo>
                      <a:pt x="184840" y="365264"/>
                      <a:pt x="208141" y="388856"/>
                      <a:pt x="208141" y="417561"/>
                    </a:cubicBezTo>
                    <a:cubicBezTo>
                      <a:pt x="208141" y="446266"/>
                      <a:pt x="184840" y="469568"/>
                      <a:pt x="156135" y="469568"/>
                    </a:cubicBezTo>
                    <a:cubicBezTo>
                      <a:pt x="127430" y="469568"/>
                      <a:pt x="104129" y="446325"/>
                      <a:pt x="104129" y="417561"/>
                    </a:cubicBezTo>
                    <a:moveTo>
                      <a:pt x="52181" y="417503"/>
                    </a:moveTo>
                    <a:cubicBezTo>
                      <a:pt x="52181" y="474913"/>
                      <a:pt x="98725" y="521458"/>
                      <a:pt x="156135" y="521458"/>
                    </a:cubicBezTo>
                    <a:cubicBezTo>
                      <a:pt x="213545" y="521458"/>
                      <a:pt x="260090" y="474913"/>
                      <a:pt x="260090" y="417503"/>
                    </a:cubicBezTo>
                    <a:cubicBezTo>
                      <a:pt x="260090" y="360093"/>
                      <a:pt x="213545" y="313142"/>
                      <a:pt x="156135" y="313142"/>
                    </a:cubicBezTo>
                    <a:cubicBezTo>
                      <a:pt x="98725" y="313142"/>
                      <a:pt x="52181" y="266191"/>
                      <a:pt x="52181" y="208781"/>
                    </a:cubicBezTo>
                    <a:cubicBezTo>
                      <a:pt x="52181" y="151370"/>
                      <a:pt x="98725" y="104826"/>
                      <a:pt x="156135" y="104826"/>
                    </a:cubicBezTo>
                    <a:cubicBezTo>
                      <a:pt x="213545" y="104826"/>
                      <a:pt x="260090" y="151370"/>
                      <a:pt x="260090" y="208781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7B2AF09D-0CEA-4690-B9BE-D28CDE8CC79E}"/>
                  </a:ext>
                </a:extLst>
              </p:cNvPr>
              <p:cNvSpPr/>
              <p:nvPr/>
            </p:nvSpPr>
            <p:spPr>
              <a:xfrm>
                <a:off x="2393823" y="1974273"/>
                <a:ext cx="312038" cy="469509"/>
              </a:xfrm>
              <a:custGeom>
                <a:avLst/>
                <a:gdLst>
                  <a:gd name="connsiteX0" fmla="*/ 0 w 312037"/>
                  <a:gd name="connsiteY0" fmla="*/ 261019 h 469509"/>
                  <a:gd name="connsiteX1" fmla="*/ 143119 w 312037"/>
                  <a:gd name="connsiteY1" fmla="*/ 416748 h 469509"/>
                  <a:gd name="connsiteX2" fmla="*/ 143119 w 312037"/>
                  <a:gd name="connsiteY2" fmla="*/ 469568 h 469509"/>
                  <a:gd name="connsiteX3" fmla="*/ 169151 w 312037"/>
                  <a:gd name="connsiteY3" fmla="*/ 469510 h 469509"/>
                  <a:gd name="connsiteX4" fmla="*/ 169151 w 312037"/>
                  <a:gd name="connsiteY4" fmla="*/ 416748 h 469509"/>
                  <a:gd name="connsiteX5" fmla="*/ 312328 w 312037"/>
                  <a:gd name="connsiteY5" fmla="*/ 261019 h 469509"/>
                  <a:gd name="connsiteX6" fmla="*/ 156193 w 312037"/>
                  <a:gd name="connsiteY6" fmla="*/ 104303 h 469509"/>
                  <a:gd name="connsiteX7" fmla="*/ 104187 w 312037"/>
                  <a:gd name="connsiteY7" fmla="*/ 52006 h 469509"/>
                  <a:gd name="connsiteX8" fmla="*/ 156193 w 312037"/>
                  <a:gd name="connsiteY8" fmla="*/ 0 h 469509"/>
                  <a:gd name="connsiteX9" fmla="*/ 208200 w 312037"/>
                  <a:gd name="connsiteY9" fmla="*/ 52006 h 469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2037" h="469509">
                    <a:moveTo>
                      <a:pt x="0" y="261019"/>
                    </a:moveTo>
                    <a:cubicBezTo>
                      <a:pt x="0" y="343009"/>
                      <a:pt x="62989" y="410123"/>
                      <a:pt x="143119" y="416748"/>
                    </a:cubicBezTo>
                    <a:lnTo>
                      <a:pt x="143119" y="469568"/>
                    </a:lnTo>
                    <a:moveTo>
                      <a:pt x="169151" y="469510"/>
                    </a:moveTo>
                    <a:lnTo>
                      <a:pt x="169151" y="416748"/>
                    </a:lnTo>
                    <a:cubicBezTo>
                      <a:pt x="249282" y="410065"/>
                      <a:pt x="312328" y="342951"/>
                      <a:pt x="312328" y="261019"/>
                    </a:cubicBezTo>
                    <a:cubicBezTo>
                      <a:pt x="312328" y="174613"/>
                      <a:pt x="242425" y="104303"/>
                      <a:pt x="156193" y="104303"/>
                    </a:cubicBezTo>
                    <a:cubicBezTo>
                      <a:pt x="127488" y="104303"/>
                      <a:pt x="104187" y="80711"/>
                      <a:pt x="104187" y="52006"/>
                    </a:cubicBezTo>
                    <a:cubicBezTo>
                      <a:pt x="104187" y="23301"/>
                      <a:pt x="127488" y="0"/>
                      <a:pt x="156193" y="0"/>
                    </a:cubicBezTo>
                    <a:cubicBezTo>
                      <a:pt x="184898" y="0"/>
                      <a:pt x="208200" y="23301"/>
                      <a:pt x="208200" y="52006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A2ABF3D-E86E-444D-9CE1-CB9734C1AD0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07A2D2D-72CE-441B-898F-8593B13A80F5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1B7C959-2A2A-4986-B231-A6E6B2A8674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FBA1C7C-A86C-4C13-9C47-D30916B257D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6" name="Group 6">
            <a:extLst>
              <a:ext uri="{FF2B5EF4-FFF2-40B4-BE49-F238E27FC236}">
                <a16:creationId xmlns:a16="http://schemas.microsoft.com/office/drawing/2014/main" id="{DE88E215-5E67-4512-8548-8C46708EBDB9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9F2A2EC-1DFA-407A-B0EF-57597CF01276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A3249B6A-0422-4CAF-B98B-082636B189E6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3BBED9E1-3470-44CE-8970-4C5E7903BC9D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0C291871-553D-4DDF-9401-C98D6F5DAE14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58BA3A46-3A11-4E9D-9A62-313FF65F1F1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59177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for background pic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Rectangle 86">
            <a:extLst>
              <a:ext uri="{FF2B5EF4-FFF2-40B4-BE49-F238E27FC236}">
                <a16:creationId xmlns:a16="http://schemas.microsoft.com/office/drawing/2014/main" id="{EC106A3D-428A-406D-9A3F-1AAC4687602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>
                  <a:alpha val="20000"/>
                </a:schemeClr>
              </a:gs>
            </a:gsLst>
            <a:lin ang="189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5708" y="1189821"/>
            <a:ext cx="6232000" cy="2650659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5000">
                <a:solidFill>
                  <a:schemeClr val="bg1"/>
                </a:solidFill>
                <a:effectLst/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5707" y="4102388"/>
            <a:ext cx="6232000" cy="1728000"/>
          </a:xfrm>
          <a:noFill/>
          <a:effectLst/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Insert subtitle here. Right click on slide background to set picture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35708" y="6375123"/>
            <a:ext cx="2328672" cy="20512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l">
              <a:defRPr lang="en-US" sz="1333" b="0" smtClean="0">
                <a:solidFill>
                  <a:schemeClr val="bg1"/>
                </a:solidFill>
                <a:latin typeface="Arial"/>
              </a:defRPr>
            </a:lvl1pPr>
          </a:lstStyle>
          <a:p>
            <a:pPr defTabSz="914377"/>
            <a:fld id="{31718B62-19F5-43F7-921E-9579268FFBF5}" type="datetime1">
              <a:rPr lang="en-US" smtClean="0"/>
              <a:t>2/17/2023</a:t>
            </a:fld>
            <a:endParaRPr lang="en-US" dirty="0"/>
          </a:p>
        </p:txBody>
      </p:sp>
      <p:grpSp>
        <p:nvGrpSpPr>
          <p:cNvPr id="131" name="Group 6">
            <a:extLst>
              <a:ext uri="{FF2B5EF4-FFF2-40B4-BE49-F238E27FC236}">
                <a16:creationId xmlns:a16="http://schemas.microsoft.com/office/drawing/2014/main" id="{2F2C2701-CCA7-4290-81A8-F02B34EFCE7C}"/>
              </a:ext>
            </a:extLst>
          </p:cNvPr>
          <p:cNvGrpSpPr/>
          <p:nvPr/>
        </p:nvGrpSpPr>
        <p:grpSpPr bwMode="black">
          <a:xfrm>
            <a:off x="635708" y="622301"/>
            <a:ext cx="1549408" cy="391252"/>
            <a:chOff x="447675" y="4187826"/>
            <a:chExt cx="2049463" cy="517525"/>
          </a:xfrm>
          <a:solidFill>
            <a:schemeClr val="bg1"/>
          </a:solidFill>
        </p:grpSpPr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CC2EE4D3-0CE7-4A96-B4BE-7F5CD5FA3ACB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 6">
              <a:extLst>
                <a:ext uri="{FF2B5EF4-FFF2-40B4-BE49-F238E27FC236}">
                  <a16:creationId xmlns:a16="http://schemas.microsoft.com/office/drawing/2014/main" id="{8A1F9E01-43DB-4F91-AF8C-6E73E0130DE4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 7">
              <a:extLst>
                <a:ext uri="{FF2B5EF4-FFF2-40B4-BE49-F238E27FC236}">
                  <a16:creationId xmlns:a16="http://schemas.microsoft.com/office/drawing/2014/main" id="{FA04AF4E-0CEF-4BBE-95C3-3D2C8577AA9C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Freeform 8">
              <a:extLst>
                <a:ext uri="{FF2B5EF4-FFF2-40B4-BE49-F238E27FC236}">
                  <a16:creationId xmlns:a16="http://schemas.microsoft.com/office/drawing/2014/main" id="{7919488A-9DB6-48AC-A14D-E639BE5F6A9D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 9">
              <a:extLst>
                <a:ext uri="{FF2B5EF4-FFF2-40B4-BE49-F238E27FC236}">
                  <a16:creationId xmlns:a16="http://schemas.microsoft.com/office/drawing/2014/main" id="{4710171C-5150-4A9D-8099-BF9696999E0F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6" name="Forme libre : forme 145">
            <a:extLst>
              <a:ext uri="{FF2B5EF4-FFF2-40B4-BE49-F238E27FC236}">
                <a16:creationId xmlns:a16="http://schemas.microsoft.com/office/drawing/2014/main" id="{F029E81A-5720-4DDC-A25D-48DEBD2147EF}"/>
              </a:ext>
            </a:extLst>
          </p:cNvPr>
          <p:cNvSpPr/>
          <p:nvPr userDrawn="1"/>
        </p:nvSpPr>
        <p:spPr>
          <a:xfrm>
            <a:off x="6867707" y="0"/>
            <a:ext cx="1740267" cy="6858000"/>
          </a:xfrm>
          <a:custGeom>
            <a:avLst/>
            <a:gdLst>
              <a:gd name="connsiteX0" fmla="*/ 1664655 w 1740267"/>
              <a:gd name="connsiteY0" fmla="*/ 0 h 6858000"/>
              <a:gd name="connsiteX1" fmla="*/ 1736238 w 1740267"/>
              <a:gd name="connsiteY1" fmla="*/ 0 h 6858000"/>
              <a:gd name="connsiteX2" fmla="*/ 71684 w 1740267"/>
              <a:gd name="connsiteY2" fmla="*/ 3434542 h 6858000"/>
              <a:gd name="connsiteX3" fmla="*/ 1740267 w 1740267"/>
              <a:gd name="connsiteY3" fmla="*/ 6858000 h 6858000"/>
              <a:gd name="connsiteX4" fmla="*/ 1668582 w 1740267"/>
              <a:gd name="connsiteY4" fmla="*/ 6858000 h 6858000"/>
              <a:gd name="connsiteX5" fmla="*/ 0 w 1740267"/>
              <a:gd name="connsiteY5" fmla="*/ 3434545 h 6858000"/>
              <a:gd name="connsiteX6" fmla="*/ 0 w 1740267"/>
              <a:gd name="connsiteY6" fmla="*/ 3434539 h 6858000"/>
              <a:gd name="connsiteX7" fmla="*/ 7167 w 1740267"/>
              <a:gd name="connsiteY7" fmla="*/ 34209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40267" h="6858000">
                <a:moveTo>
                  <a:pt x="1664655" y="0"/>
                </a:moveTo>
                <a:lnTo>
                  <a:pt x="1736238" y="0"/>
                </a:lnTo>
                <a:lnTo>
                  <a:pt x="71684" y="3434542"/>
                </a:lnTo>
                <a:lnTo>
                  <a:pt x="1740267" y="6858000"/>
                </a:lnTo>
                <a:lnTo>
                  <a:pt x="1668582" y="6858000"/>
                </a:lnTo>
                <a:lnTo>
                  <a:pt x="0" y="3434545"/>
                </a:lnTo>
                <a:lnTo>
                  <a:pt x="0" y="3434539"/>
                </a:lnTo>
                <a:lnTo>
                  <a:pt x="7167" y="342092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8" name="Forme libre : forme 147">
            <a:extLst>
              <a:ext uri="{FF2B5EF4-FFF2-40B4-BE49-F238E27FC236}">
                <a16:creationId xmlns:a16="http://schemas.microsoft.com/office/drawing/2014/main" id="{8BCA8DF1-FA4B-4C2E-9AEA-91266FB2C4C6}"/>
              </a:ext>
            </a:extLst>
          </p:cNvPr>
          <p:cNvSpPr/>
          <p:nvPr userDrawn="1"/>
        </p:nvSpPr>
        <p:spPr>
          <a:xfrm>
            <a:off x="7270085" y="0"/>
            <a:ext cx="1780385" cy="6858000"/>
          </a:xfrm>
          <a:custGeom>
            <a:avLst/>
            <a:gdLst>
              <a:gd name="connsiteX0" fmla="*/ 1664484 w 1780385"/>
              <a:gd name="connsiteY0" fmla="*/ 0 h 6858000"/>
              <a:gd name="connsiteX1" fmla="*/ 1776256 w 1780385"/>
              <a:gd name="connsiteY1" fmla="*/ 0 h 6858000"/>
              <a:gd name="connsiteX2" fmla="*/ 111112 w 1780385"/>
              <a:gd name="connsiteY2" fmla="*/ 3434542 h 6858000"/>
              <a:gd name="connsiteX3" fmla="*/ 1780385 w 1780385"/>
              <a:gd name="connsiteY3" fmla="*/ 6858000 h 6858000"/>
              <a:gd name="connsiteX4" fmla="*/ 1668583 w 1780385"/>
              <a:gd name="connsiteY4" fmla="*/ 6858000 h 6858000"/>
              <a:gd name="connsiteX5" fmla="*/ 0 w 1780385"/>
              <a:gd name="connsiteY5" fmla="*/ 3434542 h 6858000"/>
              <a:gd name="connsiteX6" fmla="*/ 10036 w 1780385"/>
              <a:gd name="connsiteY6" fmla="*/ 341303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0385" h="6858000">
                <a:moveTo>
                  <a:pt x="1664484" y="0"/>
                </a:moveTo>
                <a:lnTo>
                  <a:pt x="1776256" y="0"/>
                </a:lnTo>
                <a:lnTo>
                  <a:pt x="111112" y="3434542"/>
                </a:lnTo>
                <a:lnTo>
                  <a:pt x="1780385" y="6858000"/>
                </a:lnTo>
                <a:lnTo>
                  <a:pt x="1668583" y="6858000"/>
                </a:lnTo>
                <a:lnTo>
                  <a:pt x="0" y="3434542"/>
                </a:lnTo>
                <a:lnTo>
                  <a:pt x="10036" y="341303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0" name="Forme libre : forme 149">
            <a:extLst>
              <a:ext uri="{FF2B5EF4-FFF2-40B4-BE49-F238E27FC236}">
                <a16:creationId xmlns:a16="http://schemas.microsoft.com/office/drawing/2014/main" id="{7814FF96-BB58-4620-BCBC-AEF10DF04782}"/>
              </a:ext>
            </a:extLst>
          </p:cNvPr>
          <p:cNvSpPr/>
          <p:nvPr userDrawn="1"/>
        </p:nvSpPr>
        <p:spPr>
          <a:xfrm>
            <a:off x="7709775" y="0"/>
            <a:ext cx="1852097" cy="6858000"/>
          </a:xfrm>
          <a:custGeom>
            <a:avLst/>
            <a:gdLst>
              <a:gd name="connsiteX0" fmla="*/ 1664524 w 1852097"/>
              <a:gd name="connsiteY0" fmla="*/ 0 h 6858000"/>
              <a:gd name="connsiteX1" fmla="*/ 1848068 w 1852097"/>
              <a:gd name="connsiteY1" fmla="*/ 0 h 6858000"/>
              <a:gd name="connsiteX2" fmla="*/ 183514 w 1852097"/>
              <a:gd name="connsiteY2" fmla="*/ 3434542 h 6858000"/>
              <a:gd name="connsiteX3" fmla="*/ 1852097 w 1852097"/>
              <a:gd name="connsiteY3" fmla="*/ 6858000 h 6858000"/>
              <a:gd name="connsiteX4" fmla="*/ 1668583 w 1852097"/>
              <a:gd name="connsiteY4" fmla="*/ 6858000 h 6858000"/>
              <a:gd name="connsiteX5" fmla="*/ 0 w 1852097"/>
              <a:gd name="connsiteY5" fmla="*/ 3434542 h 6858000"/>
              <a:gd name="connsiteX6" fmla="*/ 17204 w 1852097"/>
              <a:gd name="connsiteY6" fmla="*/ 339869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2097" h="6858000">
                <a:moveTo>
                  <a:pt x="1664524" y="0"/>
                </a:moveTo>
                <a:lnTo>
                  <a:pt x="1848068" y="0"/>
                </a:lnTo>
                <a:lnTo>
                  <a:pt x="183514" y="3434542"/>
                </a:lnTo>
                <a:lnTo>
                  <a:pt x="1852097" y="6858000"/>
                </a:lnTo>
                <a:lnTo>
                  <a:pt x="1668583" y="6858000"/>
                </a:lnTo>
                <a:lnTo>
                  <a:pt x="0" y="3434542"/>
                </a:lnTo>
                <a:lnTo>
                  <a:pt x="17204" y="339869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2" name="Forme libre : forme 151">
            <a:extLst>
              <a:ext uri="{FF2B5EF4-FFF2-40B4-BE49-F238E27FC236}">
                <a16:creationId xmlns:a16="http://schemas.microsoft.com/office/drawing/2014/main" id="{42EFF6E8-6ABC-4268-96CB-7DF6F23507A8}"/>
              </a:ext>
            </a:extLst>
          </p:cNvPr>
          <p:cNvSpPr/>
          <p:nvPr userDrawn="1"/>
        </p:nvSpPr>
        <p:spPr>
          <a:xfrm>
            <a:off x="8168469" y="0"/>
            <a:ext cx="1900101" cy="6858000"/>
          </a:xfrm>
          <a:custGeom>
            <a:avLst/>
            <a:gdLst>
              <a:gd name="connsiteX0" fmla="*/ 1665142 w 1900101"/>
              <a:gd name="connsiteY0" fmla="*/ 0 h 6858000"/>
              <a:gd name="connsiteX1" fmla="*/ 1895970 w 1900101"/>
              <a:gd name="connsiteY1" fmla="*/ 0 h 6858000"/>
              <a:gd name="connsiteX2" fmla="*/ 230828 w 1900101"/>
              <a:gd name="connsiteY2" fmla="*/ 3434542 h 6858000"/>
              <a:gd name="connsiteX3" fmla="*/ 1900101 w 1900101"/>
              <a:gd name="connsiteY3" fmla="*/ 6858000 h 6858000"/>
              <a:gd name="connsiteX4" fmla="*/ 1668583 w 1900101"/>
              <a:gd name="connsiteY4" fmla="*/ 6858000 h 6858000"/>
              <a:gd name="connsiteX5" fmla="*/ 0 w 1900101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00101" h="6858000">
                <a:moveTo>
                  <a:pt x="1665142" y="0"/>
                </a:moveTo>
                <a:lnTo>
                  <a:pt x="1895970" y="0"/>
                </a:lnTo>
                <a:lnTo>
                  <a:pt x="230828" y="3434542"/>
                </a:lnTo>
                <a:lnTo>
                  <a:pt x="1900101" y="6858000"/>
                </a:lnTo>
                <a:lnTo>
                  <a:pt x="1668583" y="6858000"/>
                </a:lnTo>
                <a:lnTo>
                  <a:pt x="0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4" name="Forme libre : forme 153">
            <a:extLst>
              <a:ext uri="{FF2B5EF4-FFF2-40B4-BE49-F238E27FC236}">
                <a16:creationId xmlns:a16="http://schemas.microsoft.com/office/drawing/2014/main" id="{511CC28D-353F-4425-B212-EDF70B88D2AC}"/>
              </a:ext>
            </a:extLst>
          </p:cNvPr>
          <p:cNvSpPr/>
          <p:nvPr userDrawn="1"/>
        </p:nvSpPr>
        <p:spPr>
          <a:xfrm>
            <a:off x="8598843" y="0"/>
            <a:ext cx="1931668" cy="6858000"/>
          </a:xfrm>
          <a:custGeom>
            <a:avLst/>
            <a:gdLst>
              <a:gd name="connsiteX0" fmla="*/ 1665142 w 1931668"/>
              <a:gd name="connsiteY0" fmla="*/ 0 h 6858000"/>
              <a:gd name="connsiteX1" fmla="*/ 1927639 w 1931668"/>
              <a:gd name="connsiteY1" fmla="*/ 0 h 6858000"/>
              <a:gd name="connsiteX2" fmla="*/ 263086 w 1931668"/>
              <a:gd name="connsiteY2" fmla="*/ 3434542 h 6858000"/>
              <a:gd name="connsiteX3" fmla="*/ 1931668 w 1931668"/>
              <a:gd name="connsiteY3" fmla="*/ 6858000 h 6858000"/>
              <a:gd name="connsiteX4" fmla="*/ 1668583 w 1931668"/>
              <a:gd name="connsiteY4" fmla="*/ 6858000 h 6858000"/>
              <a:gd name="connsiteX5" fmla="*/ 0 w 1931668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1668" h="6858000">
                <a:moveTo>
                  <a:pt x="1665142" y="0"/>
                </a:moveTo>
                <a:lnTo>
                  <a:pt x="1927639" y="0"/>
                </a:lnTo>
                <a:lnTo>
                  <a:pt x="263086" y="3434542"/>
                </a:lnTo>
                <a:lnTo>
                  <a:pt x="1931668" y="6858000"/>
                </a:lnTo>
                <a:lnTo>
                  <a:pt x="1668583" y="6858000"/>
                </a:lnTo>
                <a:lnTo>
                  <a:pt x="0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7" name="Forme libre : forme 156">
            <a:extLst>
              <a:ext uri="{FF2B5EF4-FFF2-40B4-BE49-F238E27FC236}">
                <a16:creationId xmlns:a16="http://schemas.microsoft.com/office/drawing/2014/main" id="{D9576C64-A421-4222-8EF3-77752B47C155}"/>
              </a:ext>
            </a:extLst>
          </p:cNvPr>
          <p:cNvSpPr/>
          <p:nvPr userDrawn="1"/>
        </p:nvSpPr>
        <p:spPr>
          <a:xfrm>
            <a:off x="9030332" y="0"/>
            <a:ext cx="2003326" cy="6858000"/>
          </a:xfrm>
          <a:custGeom>
            <a:avLst/>
            <a:gdLst>
              <a:gd name="connsiteX0" fmla="*/ 1664554 w 2003326"/>
              <a:gd name="connsiteY0" fmla="*/ 0 h 6858000"/>
              <a:gd name="connsiteX1" fmla="*/ 1999196 w 2003326"/>
              <a:gd name="connsiteY1" fmla="*/ 0 h 6858000"/>
              <a:gd name="connsiteX2" fmla="*/ 334054 w 2003326"/>
              <a:gd name="connsiteY2" fmla="*/ 3434542 h 6858000"/>
              <a:gd name="connsiteX3" fmla="*/ 2003326 w 2003326"/>
              <a:gd name="connsiteY3" fmla="*/ 6858000 h 6858000"/>
              <a:gd name="connsiteX4" fmla="*/ 1668583 w 2003326"/>
              <a:gd name="connsiteY4" fmla="*/ 6858000 h 6858000"/>
              <a:gd name="connsiteX5" fmla="*/ 0 w 2003326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03326" h="6858000">
                <a:moveTo>
                  <a:pt x="1664554" y="0"/>
                </a:moveTo>
                <a:lnTo>
                  <a:pt x="1999196" y="0"/>
                </a:lnTo>
                <a:lnTo>
                  <a:pt x="334054" y="3434542"/>
                </a:lnTo>
                <a:lnTo>
                  <a:pt x="2003326" y="6858000"/>
                </a:lnTo>
                <a:lnTo>
                  <a:pt x="1668583" y="6858000"/>
                </a:lnTo>
                <a:lnTo>
                  <a:pt x="0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9" name="Forme libre : forme 158">
            <a:extLst>
              <a:ext uri="{FF2B5EF4-FFF2-40B4-BE49-F238E27FC236}">
                <a16:creationId xmlns:a16="http://schemas.microsoft.com/office/drawing/2014/main" id="{87BF56E7-381E-4DD1-8887-741836E1C1BF}"/>
              </a:ext>
            </a:extLst>
          </p:cNvPr>
          <p:cNvSpPr/>
          <p:nvPr userDrawn="1"/>
        </p:nvSpPr>
        <p:spPr>
          <a:xfrm>
            <a:off x="9512058" y="0"/>
            <a:ext cx="2027727" cy="6858000"/>
          </a:xfrm>
          <a:custGeom>
            <a:avLst/>
            <a:gdLst>
              <a:gd name="connsiteX0" fmla="*/ 1665142 w 2027727"/>
              <a:gd name="connsiteY0" fmla="*/ 0 h 6858000"/>
              <a:gd name="connsiteX1" fmla="*/ 2023698 w 2027727"/>
              <a:gd name="connsiteY1" fmla="*/ 0 h 6858000"/>
              <a:gd name="connsiteX2" fmla="*/ 359144 w 2027727"/>
              <a:gd name="connsiteY2" fmla="*/ 3434542 h 6858000"/>
              <a:gd name="connsiteX3" fmla="*/ 2027727 w 2027727"/>
              <a:gd name="connsiteY3" fmla="*/ 6858000 h 6858000"/>
              <a:gd name="connsiteX4" fmla="*/ 1668583 w 2027727"/>
              <a:gd name="connsiteY4" fmla="*/ 6858000 h 6858000"/>
              <a:gd name="connsiteX5" fmla="*/ 0 w 2027727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27727" h="6858000">
                <a:moveTo>
                  <a:pt x="1665142" y="0"/>
                </a:moveTo>
                <a:lnTo>
                  <a:pt x="2023698" y="0"/>
                </a:lnTo>
                <a:lnTo>
                  <a:pt x="359144" y="3434542"/>
                </a:lnTo>
                <a:lnTo>
                  <a:pt x="2027727" y="6858000"/>
                </a:lnTo>
                <a:lnTo>
                  <a:pt x="1668583" y="6858000"/>
                </a:lnTo>
                <a:lnTo>
                  <a:pt x="0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1" name="Forme libre : forme 160">
            <a:extLst>
              <a:ext uri="{FF2B5EF4-FFF2-40B4-BE49-F238E27FC236}">
                <a16:creationId xmlns:a16="http://schemas.microsoft.com/office/drawing/2014/main" id="{D68CABD6-A068-4366-9493-4BE9B3ADEAF8}"/>
              </a:ext>
            </a:extLst>
          </p:cNvPr>
          <p:cNvSpPr/>
          <p:nvPr userDrawn="1"/>
        </p:nvSpPr>
        <p:spPr>
          <a:xfrm>
            <a:off x="9990198" y="0"/>
            <a:ext cx="2059958" cy="6858000"/>
          </a:xfrm>
          <a:custGeom>
            <a:avLst/>
            <a:gdLst>
              <a:gd name="connsiteX0" fmla="*/ 1665143 w 2059958"/>
              <a:gd name="connsiteY0" fmla="*/ 0 h 6858000"/>
              <a:gd name="connsiteX1" fmla="*/ 2055828 w 2059958"/>
              <a:gd name="connsiteY1" fmla="*/ 0 h 6858000"/>
              <a:gd name="connsiteX2" fmla="*/ 390685 w 2059958"/>
              <a:gd name="connsiteY2" fmla="*/ 3434542 h 6858000"/>
              <a:gd name="connsiteX3" fmla="*/ 2059958 w 2059958"/>
              <a:gd name="connsiteY3" fmla="*/ 6858000 h 6858000"/>
              <a:gd name="connsiteX4" fmla="*/ 1668583 w 2059958"/>
              <a:gd name="connsiteY4" fmla="*/ 6858000 h 6858000"/>
              <a:gd name="connsiteX5" fmla="*/ 0 w 2059958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59958" h="6858000">
                <a:moveTo>
                  <a:pt x="1665143" y="0"/>
                </a:moveTo>
                <a:lnTo>
                  <a:pt x="2055828" y="0"/>
                </a:lnTo>
                <a:lnTo>
                  <a:pt x="390685" y="3434542"/>
                </a:lnTo>
                <a:lnTo>
                  <a:pt x="2059958" y="6858000"/>
                </a:lnTo>
                <a:lnTo>
                  <a:pt x="1668583" y="6858000"/>
                </a:lnTo>
                <a:lnTo>
                  <a:pt x="0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3" name="Forme libre : forme 162">
            <a:extLst>
              <a:ext uri="{FF2B5EF4-FFF2-40B4-BE49-F238E27FC236}">
                <a16:creationId xmlns:a16="http://schemas.microsoft.com/office/drawing/2014/main" id="{F35F9B21-8D58-4031-8734-ED233B900FBC}"/>
              </a:ext>
            </a:extLst>
          </p:cNvPr>
          <p:cNvSpPr/>
          <p:nvPr userDrawn="1"/>
        </p:nvSpPr>
        <p:spPr>
          <a:xfrm>
            <a:off x="10460458" y="0"/>
            <a:ext cx="1731542" cy="6858000"/>
          </a:xfrm>
          <a:custGeom>
            <a:avLst/>
            <a:gdLst>
              <a:gd name="connsiteX0" fmla="*/ 1665142 w 1731542"/>
              <a:gd name="connsiteY0" fmla="*/ 0 h 6858000"/>
              <a:gd name="connsiteX1" fmla="*/ 1731542 w 1731542"/>
              <a:gd name="connsiteY1" fmla="*/ 0 h 6858000"/>
              <a:gd name="connsiteX2" fmla="*/ 1731542 w 1731542"/>
              <a:gd name="connsiteY2" fmla="*/ 766997 h 6858000"/>
              <a:gd name="connsiteX3" fmla="*/ 438714 w 1731542"/>
              <a:gd name="connsiteY3" fmla="*/ 3434542 h 6858000"/>
              <a:gd name="connsiteX4" fmla="*/ 1731542 w 1731542"/>
              <a:gd name="connsiteY4" fmla="*/ 6087058 h 6858000"/>
              <a:gd name="connsiteX5" fmla="*/ 1731542 w 1731542"/>
              <a:gd name="connsiteY5" fmla="*/ 6858000 h 6858000"/>
              <a:gd name="connsiteX6" fmla="*/ 1668583 w 1731542"/>
              <a:gd name="connsiteY6" fmla="*/ 6858000 h 6858000"/>
              <a:gd name="connsiteX7" fmla="*/ 0 w 1731542"/>
              <a:gd name="connsiteY7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31542" h="6858000">
                <a:moveTo>
                  <a:pt x="1665142" y="0"/>
                </a:moveTo>
                <a:lnTo>
                  <a:pt x="1731542" y="0"/>
                </a:lnTo>
                <a:lnTo>
                  <a:pt x="1731542" y="766997"/>
                </a:lnTo>
                <a:lnTo>
                  <a:pt x="438714" y="3434542"/>
                </a:lnTo>
                <a:lnTo>
                  <a:pt x="1731542" y="6087058"/>
                </a:lnTo>
                <a:lnTo>
                  <a:pt x="1731542" y="6858000"/>
                </a:lnTo>
                <a:lnTo>
                  <a:pt x="1668583" y="6858000"/>
                </a:lnTo>
                <a:lnTo>
                  <a:pt x="0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5" name="Forme libre : forme 164">
            <a:extLst>
              <a:ext uri="{FF2B5EF4-FFF2-40B4-BE49-F238E27FC236}">
                <a16:creationId xmlns:a16="http://schemas.microsoft.com/office/drawing/2014/main" id="{34D280D6-6A16-48E1-B011-CFC2AA06632B}"/>
              </a:ext>
            </a:extLst>
          </p:cNvPr>
          <p:cNvSpPr/>
          <p:nvPr userDrawn="1"/>
        </p:nvSpPr>
        <p:spPr>
          <a:xfrm>
            <a:off x="10950785" y="874400"/>
            <a:ext cx="1241215" cy="5106763"/>
          </a:xfrm>
          <a:custGeom>
            <a:avLst/>
            <a:gdLst>
              <a:gd name="connsiteX0" fmla="*/ 1241215 w 1241215"/>
              <a:gd name="connsiteY0" fmla="*/ 0 h 5106763"/>
              <a:gd name="connsiteX1" fmla="*/ 1241215 w 1241215"/>
              <a:gd name="connsiteY1" fmla="*/ 920581 h 5106763"/>
              <a:gd name="connsiteX2" fmla="*/ 446600 w 1241215"/>
              <a:gd name="connsiteY2" fmla="*/ 2560143 h 5106763"/>
              <a:gd name="connsiteX3" fmla="*/ 1241215 w 1241215"/>
              <a:gd name="connsiteY3" fmla="*/ 4190467 h 5106763"/>
              <a:gd name="connsiteX4" fmla="*/ 1241215 w 1241215"/>
              <a:gd name="connsiteY4" fmla="*/ 5106763 h 5106763"/>
              <a:gd name="connsiteX5" fmla="*/ 0 w 1241215"/>
              <a:gd name="connsiteY5" fmla="*/ 2560143 h 5106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41215" h="5106763">
                <a:moveTo>
                  <a:pt x="1241215" y="0"/>
                </a:moveTo>
                <a:lnTo>
                  <a:pt x="1241215" y="920581"/>
                </a:lnTo>
                <a:lnTo>
                  <a:pt x="446600" y="2560143"/>
                </a:lnTo>
                <a:lnTo>
                  <a:pt x="1241215" y="4190467"/>
                </a:lnTo>
                <a:lnTo>
                  <a:pt x="1241215" y="5106763"/>
                </a:lnTo>
                <a:lnTo>
                  <a:pt x="0" y="256014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7" name="Forme libre : forme 166">
            <a:extLst>
              <a:ext uri="{FF2B5EF4-FFF2-40B4-BE49-F238E27FC236}">
                <a16:creationId xmlns:a16="http://schemas.microsoft.com/office/drawing/2014/main" id="{A6351C29-861C-4B69-AC2D-83E9616AC148}"/>
              </a:ext>
            </a:extLst>
          </p:cNvPr>
          <p:cNvSpPr/>
          <p:nvPr userDrawn="1"/>
        </p:nvSpPr>
        <p:spPr>
          <a:xfrm>
            <a:off x="11441114" y="1885755"/>
            <a:ext cx="750887" cy="3089395"/>
          </a:xfrm>
          <a:custGeom>
            <a:avLst/>
            <a:gdLst>
              <a:gd name="connsiteX0" fmla="*/ 750887 w 750887"/>
              <a:gd name="connsiteY0" fmla="*/ 0 h 3089395"/>
              <a:gd name="connsiteX1" fmla="*/ 750887 w 750887"/>
              <a:gd name="connsiteY1" fmla="*/ 937210 h 3089395"/>
              <a:gd name="connsiteX2" fmla="*/ 454485 w 750887"/>
              <a:gd name="connsiteY2" fmla="*/ 1548788 h 3089395"/>
              <a:gd name="connsiteX3" fmla="*/ 750887 w 750887"/>
              <a:gd name="connsiteY3" fmla="*/ 2156921 h 3089395"/>
              <a:gd name="connsiteX4" fmla="*/ 750887 w 750887"/>
              <a:gd name="connsiteY4" fmla="*/ 3089395 h 3089395"/>
              <a:gd name="connsiteX5" fmla="*/ 0 w 750887"/>
              <a:gd name="connsiteY5" fmla="*/ 1548788 h 308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50887" h="3089395">
                <a:moveTo>
                  <a:pt x="750887" y="0"/>
                </a:moveTo>
                <a:lnTo>
                  <a:pt x="750887" y="937210"/>
                </a:lnTo>
                <a:lnTo>
                  <a:pt x="454485" y="1548788"/>
                </a:lnTo>
                <a:lnTo>
                  <a:pt x="750887" y="2156921"/>
                </a:lnTo>
                <a:lnTo>
                  <a:pt x="750887" y="3089395"/>
                </a:lnTo>
                <a:lnTo>
                  <a:pt x="0" y="154878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9" name="Forme libre : forme 168">
            <a:extLst>
              <a:ext uri="{FF2B5EF4-FFF2-40B4-BE49-F238E27FC236}">
                <a16:creationId xmlns:a16="http://schemas.microsoft.com/office/drawing/2014/main" id="{6B43D4F6-CCC3-44CA-92EB-FA137438DEDC}"/>
              </a:ext>
            </a:extLst>
          </p:cNvPr>
          <p:cNvSpPr/>
          <p:nvPr userDrawn="1"/>
        </p:nvSpPr>
        <p:spPr>
          <a:xfrm>
            <a:off x="11939326" y="2913372"/>
            <a:ext cx="252675" cy="1039588"/>
          </a:xfrm>
          <a:custGeom>
            <a:avLst/>
            <a:gdLst>
              <a:gd name="connsiteX0" fmla="*/ 252675 w 252675"/>
              <a:gd name="connsiteY0" fmla="*/ 0 h 1039588"/>
              <a:gd name="connsiteX1" fmla="*/ 252675 w 252675"/>
              <a:gd name="connsiteY1" fmla="*/ 1039588 h 1039588"/>
              <a:gd name="connsiteX2" fmla="*/ 0 w 252675"/>
              <a:gd name="connsiteY2" fmla="*/ 521170 h 103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2675" h="1039588">
                <a:moveTo>
                  <a:pt x="252675" y="0"/>
                </a:moveTo>
                <a:lnTo>
                  <a:pt x="252675" y="1039588"/>
                </a:lnTo>
                <a:lnTo>
                  <a:pt x="0" y="52117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6240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6.25E-7 4.44444E-6 L 6.25E-7 0.05162 " pathEditMode="relative" rAng="0" ptsTypes="AA">
                                      <p:cBhvr>
                                        <p:cTn id="12" dur="750" spd="-100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69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23" dur="750" spd="-1000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3" presetClass="path" presetSubtype="0" decel="100000" fill="hold" grpId="1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28" dur="750" spd="-1000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3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33" dur="750" spd="-1000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3" presetClass="path" presetSubtype="0" decel="100000" fill="hold" grpId="1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38" dur="750" spd="-1000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3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43" dur="750" spd="-1000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5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63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48" dur="750" spd="-1000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3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53" dur="750" spd="-1000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3" presetClass="path" presetSubtype="0" decel="100000" fill="hold" grpId="1" nodeType="withEffect">
                                  <p:stCondLst>
                                    <p:cond delay="35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58" dur="750" spd="-1000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5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3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63" dur="750" spd="-1000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5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63" presetClass="path" presetSubtype="0" decel="100000" fill="hold" grpId="1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68" dur="750" spd="-1000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5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3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73" dur="750" spd="-1000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25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63" presetClass="path" presetSubtype="0" decel="100000" fill="hold" grpId="1" nodeType="withEffect">
                                  <p:stCondLst>
                                    <p:cond delay="55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78" dur="750" spd="-1000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  <p:bldP spid="3" grpId="1" build="p"/>
      <p:bldP spid="4" grpId="0"/>
      <p:bldP spid="146" grpId="0" animBg="1"/>
      <p:bldP spid="146" grpId="1" animBg="1"/>
      <p:bldP spid="148" grpId="0" animBg="1"/>
      <p:bldP spid="148" grpId="1" animBg="1"/>
      <p:bldP spid="150" grpId="0" animBg="1"/>
      <p:bldP spid="150" grpId="1" animBg="1"/>
      <p:bldP spid="152" grpId="0" animBg="1"/>
      <p:bldP spid="152" grpId="1" animBg="1"/>
      <p:bldP spid="154" grpId="0" animBg="1"/>
      <p:bldP spid="154" grpId="1" animBg="1"/>
      <p:bldP spid="157" grpId="0" animBg="1"/>
      <p:bldP spid="157" grpId="1" animBg="1"/>
      <p:bldP spid="159" grpId="0" animBg="1"/>
      <p:bldP spid="159" grpId="1" animBg="1"/>
      <p:bldP spid="161" grpId="0" animBg="1"/>
      <p:bldP spid="161" grpId="1" animBg="1"/>
      <p:bldP spid="163" grpId="0" animBg="1"/>
      <p:bldP spid="163" grpId="1" animBg="1"/>
      <p:bldP spid="165" grpId="0" animBg="1"/>
      <p:bldP spid="165" grpId="1" animBg="1"/>
      <p:bldP spid="167" grpId="0" animBg="1"/>
      <p:bldP spid="167" grpId="1" animBg="1"/>
      <p:bldP spid="169" grpId="0" animBg="1"/>
      <p:bldP spid="169" grpId="1" animBg="1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BA6CB9-E722-4F5E-99B8-9AC70DC671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667" y="1559985"/>
            <a:ext cx="11515200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8" name="Espace réservé du texte 10">
            <a:extLst>
              <a:ext uri="{FF2B5EF4-FFF2-40B4-BE49-F238E27FC236}">
                <a16:creationId xmlns:a16="http://schemas.microsoft.com/office/drawing/2014/main" id="{53AE3FDD-D0B4-4344-AF4E-133DD63C98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00800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BDE5D317-3F5B-4F93-AF96-CED099985E66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338667" y="4039660"/>
            <a:ext cx="11513197" cy="2248957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91BEEBEA-AC38-4AD3-9D19-517C867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FC9BCD75-5348-4037-B1E2-1C269D3C2CD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67732" y="1"/>
            <a:ext cx="885600" cy="1138181"/>
            <a:chOff x="608663" y="3130115"/>
            <a:chExt cx="1033869" cy="132873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323E061-9C53-411F-B517-08FCEE9A11A7}"/>
                </a:ext>
              </a:extLst>
            </p:cNvPr>
            <p:cNvSpPr/>
            <p:nvPr/>
          </p:nvSpPr>
          <p:spPr>
            <a:xfrm>
              <a:off x="608663" y="3130115"/>
              <a:ext cx="1033869" cy="13287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1000" sy="101000" algn="ctr" rotWithShape="0">
                <a:schemeClr val="accent4"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dirty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14" name="Graphique 81">
              <a:extLst>
                <a:ext uri="{FF2B5EF4-FFF2-40B4-BE49-F238E27FC236}">
                  <a16:creationId xmlns:a16="http://schemas.microsoft.com/office/drawing/2014/main" id="{BA38B23D-0925-49B1-9BEB-12B78A0DB5C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9864" y="3629009"/>
              <a:ext cx="271466" cy="529187"/>
              <a:chOff x="2389465" y="1817499"/>
              <a:chExt cx="321335" cy="626400"/>
            </a:xfrm>
          </p:grpSpPr>
          <p:sp>
            <p:nvSpPr>
              <p:cNvPr id="15" name="Forme libre : forme 14">
                <a:extLst>
                  <a:ext uri="{FF2B5EF4-FFF2-40B4-BE49-F238E27FC236}">
                    <a16:creationId xmlns:a16="http://schemas.microsoft.com/office/drawing/2014/main" id="{B1A49336-5B2F-415D-B7C8-5B56F933E658}"/>
                  </a:ext>
                </a:extLst>
              </p:cNvPr>
              <p:cNvSpPr/>
              <p:nvPr/>
            </p:nvSpPr>
            <p:spPr>
              <a:xfrm>
                <a:off x="2563032" y="1817499"/>
                <a:ext cx="142945" cy="208025"/>
              </a:xfrm>
              <a:custGeom>
                <a:avLst/>
                <a:gdLst>
                  <a:gd name="connsiteX0" fmla="*/ 143119 w 142944"/>
                  <a:gd name="connsiteY0" fmla="*/ 208548 h 208025"/>
                  <a:gd name="connsiteX1" fmla="*/ 0 w 142944"/>
                  <a:gd name="connsiteY1" fmla="*/ 52820 h 208025"/>
                  <a:gd name="connsiteX2" fmla="*/ 0 w 142944"/>
                  <a:gd name="connsiteY2" fmla="*/ 0 h 208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944" h="208025">
                    <a:moveTo>
                      <a:pt x="143119" y="208548"/>
                    </a:moveTo>
                    <a:cubicBezTo>
                      <a:pt x="143119" y="126558"/>
                      <a:pt x="80130" y="59444"/>
                      <a:pt x="0" y="52820"/>
                    </a:cubicBez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0" name="Forme libre : forme 19">
                <a:extLst>
                  <a:ext uri="{FF2B5EF4-FFF2-40B4-BE49-F238E27FC236}">
                    <a16:creationId xmlns:a16="http://schemas.microsoft.com/office/drawing/2014/main" id="{2CAA9E33-3AA8-4135-AEA6-596A3BD74EC6}"/>
                  </a:ext>
                </a:extLst>
              </p:cNvPr>
              <p:cNvSpPr/>
              <p:nvPr/>
            </p:nvSpPr>
            <p:spPr>
              <a:xfrm>
                <a:off x="2393823" y="1817499"/>
                <a:ext cx="259741" cy="521225"/>
              </a:xfrm>
              <a:custGeom>
                <a:avLst/>
                <a:gdLst>
                  <a:gd name="connsiteX0" fmla="*/ 143119 w 259740"/>
                  <a:gd name="connsiteY0" fmla="*/ 0 h 521225"/>
                  <a:gd name="connsiteX1" fmla="*/ 143119 w 259740"/>
                  <a:gd name="connsiteY1" fmla="*/ 52820 h 521225"/>
                  <a:gd name="connsiteX2" fmla="*/ 0 w 259740"/>
                  <a:gd name="connsiteY2" fmla="*/ 208548 h 521225"/>
                  <a:gd name="connsiteX3" fmla="*/ 156135 w 259740"/>
                  <a:gd name="connsiteY3" fmla="*/ 365264 h 521225"/>
                  <a:gd name="connsiteX4" fmla="*/ 208141 w 259740"/>
                  <a:gd name="connsiteY4" fmla="*/ 417561 h 521225"/>
                  <a:gd name="connsiteX5" fmla="*/ 156135 w 259740"/>
                  <a:gd name="connsiteY5" fmla="*/ 469568 h 521225"/>
                  <a:gd name="connsiteX6" fmla="*/ 104129 w 259740"/>
                  <a:gd name="connsiteY6" fmla="*/ 417561 h 521225"/>
                  <a:gd name="connsiteX7" fmla="*/ 52181 w 259740"/>
                  <a:gd name="connsiteY7" fmla="*/ 417503 h 521225"/>
                  <a:gd name="connsiteX8" fmla="*/ 156135 w 259740"/>
                  <a:gd name="connsiteY8" fmla="*/ 521458 h 521225"/>
                  <a:gd name="connsiteX9" fmla="*/ 260090 w 259740"/>
                  <a:gd name="connsiteY9" fmla="*/ 417503 h 521225"/>
                  <a:gd name="connsiteX10" fmla="*/ 156135 w 259740"/>
                  <a:gd name="connsiteY10" fmla="*/ 313142 h 521225"/>
                  <a:gd name="connsiteX11" fmla="*/ 52181 w 259740"/>
                  <a:gd name="connsiteY11" fmla="*/ 208781 h 521225"/>
                  <a:gd name="connsiteX12" fmla="*/ 156135 w 259740"/>
                  <a:gd name="connsiteY12" fmla="*/ 104826 h 521225"/>
                  <a:gd name="connsiteX13" fmla="*/ 260090 w 259740"/>
                  <a:gd name="connsiteY13" fmla="*/ 208781 h 521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9740" h="521225">
                    <a:moveTo>
                      <a:pt x="143119" y="0"/>
                    </a:moveTo>
                    <a:lnTo>
                      <a:pt x="143119" y="52820"/>
                    </a:lnTo>
                    <a:cubicBezTo>
                      <a:pt x="62989" y="59444"/>
                      <a:pt x="0" y="126558"/>
                      <a:pt x="0" y="208548"/>
                    </a:cubicBezTo>
                    <a:cubicBezTo>
                      <a:pt x="0" y="294896"/>
                      <a:pt x="69903" y="365264"/>
                      <a:pt x="156135" y="365264"/>
                    </a:cubicBezTo>
                    <a:cubicBezTo>
                      <a:pt x="184840" y="365264"/>
                      <a:pt x="208141" y="388856"/>
                      <a:pt x="208141" y="417561"/>
                    </a:cubicBezTo>
                    <a:cubicBezTo>
                      <a:pt x="208141" y="446266"/>
                      <a:pt x="184840" y="469568"/>
                      <a:pt x="156135" y="469568"/>
                    </a:cubicBezTo>
                    <a:cubicBezTo>
                      <a:pt x="127430" y="469568"/>
                      <a:pt x="104129" y="446325"/>
                      <a:pt x="104129" y="417561"/>
                    </a:cubicBezTo>
                    <a:moveTo>
                      <a:pt x="52181" y="417503"/>
                    </a:moveTo>
                    <a:cubicBezTo>
                      <a:pt x="52181" y="474913"/>
                      <a:pt x="98725" y="521458"/>
                      <a:pt x="156135" y="521458"/>
                    </a:cubicBezTo>
                    <a:cubicBezTo>
                      <a:pt x="213545" y="521458"/>
                      <a:pt x="260090" y="474913"/>
                      <a:pt x="260090" y="417503"/>
                    </a:cubicBezTo>
                    <a:cubicBezTo>
                      <a:pt x="260090" y="360093"/>
                      <a:pt x="213545" y="313142"/>
                      <a:pt x="156135" y="313142"/>
                    </a:cubicBezTo>
                    <a:cubicBezTo>
                      <a:pt x="98725" y="313142"/>
                      <a:pt x="52181" y="266191"/>
                      <a:pt x="52181" y="208781"/>
                    </a:cubicBezTo>
                    <a:cubicBezTo>
                      <a:pt x="52181" y="151370"/>
                      <a:pt x="98725" y="104826"/>
                      <a:pt x="156135" y="104826"/>
                    </a:cubicBezTo>
                    <a:cubicBezTo>
                      <a:pt x="213545" y="104826"/>
                      <a:pt x="260090" y="151370"/>
                      <a:pt x="260090" y="208781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2" name="Forme libre : forme 21">
                <a:extLst>
                  <a:ext uri="{FF2B5EF4-FFF2-40B4-BE49-F238E27FC236}">
                    <a16:creationId xmlns:a16="http://schemas.microsoft.com/office/drawing/2014/main" id="{9E203FD7-4AF0-4398-BA38-F4CCFA5213EA}"/>
                  </a:ext>
                </a:extLst>
              </p:cNvPr>
              <p:cNvSpPr/>
              <p:nvPr/>
            </p:nvSpPr>
            <p:spPr>
              <a:xfrm>
                <a:off x="2393823" y="1974273"/>
                <a:ext cx="312038" cy="469509"/>
              </a:xfrm>
              <a:custGeom>
                <a:avLst/>
                <a:gdLst>
                  <a:gd name="connsiteX0" fmla="*/ 0 w 312037"/>
                  <a:gd name="connsiteY0" fmla="*/ 261019 h 469509"/>
                  <a:gd name="connsiteX1" fmla="*/ 143119 w 312037"/>
                  <a:gd name="connsiteY1" fmla="*/ 416748 h 469509"/>
                  <a:gd name="connsiteX2" fmla="*/ 143119 w 312037"/>
                  <a:gd name="connsiteY2" fmla="*/ 469568 h 469509"/>
                  <a:gd name="connsiteX3" fmla="*/ 169151 w 312037"/>
                  <a:gd name="connsiteY3" fmla="*/ 469510 h 469509"/>
                  <a:gd name="connsiteX4" fmla="*/ 169151 w 312037"/>
                  <a:gd name="connsiteY4" fmla="*/ 416748 h 469509"/>
                  <a:gd name="connsiteX5" fmla="*/ 312328 w 312037"/>
                  <a:gd name="connsiteY5" fmla="*/ 261019 h 469509"/>
                  <a:gd name="connsiteX6" fmla="*/ 156193 w 312037"/>
                  <a:gd name="connsiteY6" fmla="*/ 104303 h 469509"/>
                  <a:gd name="connsiteX7" fmla="*/ 104187 w 312037"/>
                  <a:gd name="connsiteY7" fmla="*/ 52006 h 469509"/>
                  <a:gd name="connsiteX8" fmla="*/ 156193 w 312037"/>
                  <a:gd name="connsiteY8" fmla="*/ 0 h 469509"/>
                  <a:gd name="connsiteX9" fmla="*/ 208200 w 312037"/>
                  <a:gd name="connsiteY9" fmla="*/ 52006 h 469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2037" h="469509">
                    <a:moveTo>
                      <a:pt x="0" y="261019"/>
                    </a:moveTo>
                    <a:cubicBezTo>
                      <a:pt x="0" y="343009"/>
                      <a:pt x="62989" y="410123"/>
                      <a:pt x="143119" y="416748"/>
                    </a:cubicBezTo>
                    <a:lnTo>
                      <a:pt x="143119" y="469568"/>
                    </a:lnTo>
                    <a:moveTo>
                      <a:pt x="169151" y="469510"/>
                    </a:moveTo>
                    <a:lnTo>
                      <a:pt x="169151" y="416748"/>
                    </a:lnTo>
                    <a:cubicBezTo>
                      <a:pt x="249282" y="410065"/>
                      <a:pt x="312328" y="342951"/>
                      <a:pt x="312328" y="261019"/>
                    </a:cubicBezTo>
                    <a:cubicBezTo>
                      <a:pt x="312328" y="174613"/>
                      <a:pt x="242425" y="104303"/>
                      <a:pt x="156193" y="104303"/>
                    </a:cubicBezTo>
                    <a:cubicBezTo>
                      <a:pt x="127488" y="104303"/>
                      <a:pt x="104187" y="80711"/>
                      <a:pt x="104187" y="52006"/>
                    </a:cubicBezTo>
                    <a:cubicBezTo>
                      <a:pt x="104187" y="23301"/>
                      <a:pt x="127488" y="0"/>
                      <a:pt x="156193" y="0"/>
                    </a:cubicBezTo>
                    <a:cubicBezTo>
                      <a:pt x="184898" y="0"/>
                      <a:pt x="208200" y="23301"/>
                      <a:pt x="208200" y="52006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EDDA81C-7341-4143-BF1B-4BDA3FB76E55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53D15116-F66F-44B9-ABFB-20CF2776BF6A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4C6E396-073B-4CC8-A8C9-29B95E3DE50F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1D64F58-6CD4-4A07-A7F4-0A1D56AE8D1D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6" name="Group 6">
            <a:extLst>
              <a:ext uri="{FF2B5EF4-FFF2-40B4-BE49-F238E27FC236}">
                <a16:creationId xmlns:a16="http://schemas.microsoft.com/office/drawing/2014/main" id="{F6406EA1-0EF1-4ACC-BED2-830506749360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091E0FEB-0A86-4706-9369-9692329A1495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BA5B8E86-9CE9-4AA4-8899-C4028F019001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E680B723-D0E3-46A2-901B-7B4770763A5C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3A956DD0-D3C8-4A17-A81C-D3C7CBB53FA8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7775AFB5-8B1F-4E62-89A7-DDD3223AF9BC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94177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A1E213FD-E20C-4955-AB68-4B16555D66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00800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6371E0D4-55F6-4F59-A643-9DD9E4BB98DD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6223000" y="1559985"/>
            <a:ext cx="5630333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8E4B857-1F25-4E3B-A2AD-65010C2F043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8667" y="1559985"/>
            <a:ext cx="5630333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C3261A3D-05BE-4B1A-8A30-3DEEB79D9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ECD41176-1FD4-461B-A7E5-591EE35F29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667" y="4037417"/>
            <a:ext cx="11515200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A329423E-AF9F-4985-8E50-AFFBB8A0944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67732" y="1"/>
            <a:ext cx="885600" cy="1138181"/>
            <a:chOff x="608663" y="3130115"/>
            <a:chExt cx="1033869" cy="1328738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B44015E-66B4-4C77-A3A5-C945812E7120}"/>
                </a:ext>
              </a:extLst>
            </p:cNvPr>
            <p:cNvSpPr/>
            <p:nvPr/>
          </p:nvSpPr>
          <p:spPr>
            <a:xfrm>
              <a:off x="608663" y="3130115"/>
              <a:ext cx="1033869" cy="13287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1000" sy="101000" algn="ctr" rotWithShape="0">
                <a:schemeClr val="accent4"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dirty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15" name="Graphique 81">
              <a:extLst>
                <a:ext uri="{FF2B5EF4-FFF2-40B4-BE49-F238E27FC236}">
                  <a16:creationId xmlns:a16="http://schemas.microsoft.com/office/drawing/2014/main" id="{4B75CC59-4B25-431D-A070-CC26839CE73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9864" y="3629009"/>
              <a:ext cx="271466" cy="529187"/>
              <a:chOff x="2389465" y="1817499"/>
              <a:chExt cx="321335" cy="626400"/>
            </a:xfrm>
          </p:grpSpPr>
          <p:sp>
            <p:nvSpPr>
              <p:cNvPr id="16" name="Forme libre : forme 15">
                <a:extLst>
                  <a:ext uri="{FF2B5EF4-FFF2-40B4-BE49-F238E27FC236}">
                    <a16:creationId xmlns:a16="http://schemas.microsoft.com/office/drawing/2014/main" id="{DF48F7D0-B987-4DBB-9436-A6F952D9C841}"/>
                  </a:ext>
                </a:extLst>
              </p:cNvPr>
              <p:cNvSpPr/>
              <p:nvPr/>
            </p:nvSpPr>
            <p:spPr>
              <a:xfrm>
                <a:off x="2563032" y="1817499"/>
                <a:ext cx="142945" cy="208025"/>
              </a:xfrm>
              <a:custGeom>
                <a:avLst/>
                <a:gdLst>
                  <a:gd name="connsiteX0" fmla="*/ 143119 w 142944"/>
                  <a:gd name="connsiteY0" fmla="*/ 208548 h 208025"/>
                  <a:gd name="connsiteX1" fmla="*/ 0 w 142944"/>
                  <a:gd name="connsiteY1" fmla="*/ 52820 h 208025"/>
                  <a:gd name="connsiteX2" fmla="*/ 0 w 142944"/>
                  <a:gd name="connsiteY2" fmla="*/ 0 h 208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944" h="208025">
                    <a:moveTo>
                      <a:pt x="143119" y="208548"/>
                    </a:moveTo>
                    <a:cubicBezTo>
                      <a:pt x="143119" y="126558"/>
                      <a:pt x="80130" y="59444"/>
                      <a:pt x="0" y="52820"/>
                    </a:cubicBez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0" name="Forme libre : forme 19">
                <a:extLst>
                  <a:ext uri="{FF2B5EF4-FFF2-40B4-BE49-F238E27FC236}">
                    <a16:creationId xmlns:a16="http://schemas.microsoft.com/office/drawing/2014/main" id="{E8B969C9-486F-465E-B25B-1DE99D811DA7}"/>
                  </a:ext>
                </a:extLst>
              </p:cNvPr>
              <p:cNvSpPr/>
              <p:nvPr/>
            </p:nvSpPr>
            <p:spPr>
              <a:xfrm>
                <a:off x="2393823" y="1817499"/>
                <a:ext cx="259741" cy="521225"/>
              </a:xfrm>
              <a:custGeom>
                <a:avLst/>
                <a:gdLst>
                  <a:gd name="connsiteX0" fmla="*/ 143119 w 259740"/>
                  <a:gd name="connsiteY0" fmla="*/ 0 h 521225"/>
                  <a:gd name="connsiteX1" fmla="*/ 143119 w 259740"/>
                  <a:gd name="connsiteY1" fmla="*/ 52820 h 521225"/>
                  <a:gd name="connsiteX2" fmla="*/ 0 w 259740"/>
                  <a:gd name="connsiteY2" fmla="*/ 208548 h 521225"/>
                  <a:gd name="connsiteX3" fmla="*/ 156135 w 259740"/>
                  <a:gd name="connsiteY3" fmla="*/ 365264 h 521225"/>
                  <a:gd name="connsiteX4" fmla="*/ 208141 w 259740"/>
                  <a:gd name="connsiteY4" fmla="*/ 417561 h 521225"/>
                  <a:gd name="connsiteX5" fmla="*/ 156135 w 259740"/>
                  <a:gd name="connsiteY5" fmla="*/ 469568 h 521225"/>
                  <a:gd name="connsiteX6" fmla="*/ 104129 w 259740"/>
                  <a:gd name="connsiteY6" fmla="*/ 417561 h 521225"/>
                  <a:gd name="connsiteX7" fmla="*/ 52181 w 259740"/>
                  <a:gd name="connsiteY7" fmla="*/ 417503 h 521225"/>
                  <a:gd name="connsiteX8" fmla="*/ 156135 w 259740"/>
                  <a:gd name="connsiteY8" fmla="*/ 521458 h 521225"/>
                  <a:gd name="connsiteX9" fmla="*/ 260090 w 259740"/>
                  <a:gd name="connsiteY9" fmla="*/ 417503 h 521225"/>
                  <a:gd name="connsiteX10" fmla="*/ 156135 w 259740"/>
                  <a:gd name="connsiteY10" fmla="*/ 313142 h 521225"/>
                  <a:gd name="connsiteX11" fmla="*/ 52181 w 259740"/>
                  <a:gd name="connsiteY11" fmla="*/ 208781 h 521225"/>
                  <a:gd name="connsiteX12" fmla="*/ 156135 w 259740"/>
                  <a:gd name="connsiteY12" fmla="*/ 104826 h 521225"/>
                  <a:gd name="connsiteX13" fmla="*/ 260090 w 259740"/>
                  <a:gd name="connsiteY13" fmla="*/ 208781 h 521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9740" h="521225">
                    <a:moveTo>
                      <a:pt x="143119" y="0"/>
                    </a:moveTo>
                    <a:lnTo>
                      <a:pt x="143119" y="52820"/>
                    </a:lnTo>
                    <a:cubicBezTo>
                      <a:pt x="62989" y="59444"/>
                      <a:pt x="0" y="126558"/>
                      <a:pt x="0" y="208548"/>
                    </a:cubicBezTo>
                    <a:cubicBezTo>
                      <a:pt x="0" y="294896"/>
                      <a:pt x="69903" y="365264"/>
                      <a:pt x="156135" y="365264"/>
                    </a:cubicBezTo>
                    <a:cubicBezTo>
                      <a:pt x="184840" y="365264"/>
                      <a:pt x="208141" y="388856"/>
                      <a:pt x="208141" y="417561"/>
                    </a:cubicBezTo>
                    <a:cubicBezTo>
                      <a:pt x="208141" y="446266"/>
                      <a:pt x="184840" y="469568"/>
                      <a:pt x="156135" y="469568"/>
                    </a:cubicBezTo>
                    <a:cubicBezTo>
                      <a:pt x="127430" y="469568"/>
                      <a:pt x="104129" y="446325"/>
                      <a:pt x="104129" y="417561"/>
                    </a:cubicBezTo>
                    <a:moveTo>
                      <a:pt x="52181" y="417503"/>
                    </a:moveTo>
                    <a:cubicBezTo>
                      <a:pt x="52181" y="474913"/>
                      <a:pt x="98725" y="521458"/>
                      <a:pt x="156135" y="521458"/>
                    </a:cubicBezTo>
                    <a:cubicBezTo>
                      <a:pt x="213545" y="521458"/>
                      <a:pt x="260090" y="474913"/>
                      <a:pt x="260090" y="417503"/>
                    </a:cubicBezTo>
                    <a:cubicBezTo>
                      <a:pt x="260090" y="360093"/>
                      <a:pt x="213545" y="313142"/>
                      <a:pt x="156135" y="313142"/>
                    </a:cubicBezTo>
                    <a:cubicBezTo>
                      <a:pt x="98725" y="313142"/>
                      <a:pt x="52181" y="266191"/>
                      <a:pt x="52181" y="208781"/>
                    </a:cubicBezTo>
                    <a:cubicBezTo>
                      <a:pt x="52181" y="151370"/>
                      <a:pt x="98725" y="104826"/>
                      <a:pt x="156135" y="104826"/>
                    </a:cubicBezTo>
                    <a:cubicBezTo>
                      <a:pt x="213545" y="104826"/>
                      <a:pt x="260090" y="151370"/>
                      <a:pt x="260090" y="208781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2" name="Forme libre : forme 21">
                <a:extLst>
                  <a:ext uri="{FF2B5EF4-FFF2-40B4-BE49-F238E27FC236}">
                    <a16:creationId xmlns:a16="http://schemas.microsoft.com/office/drawing/2014/main" id="{45908416-AF03-47CC-94A4-1571AB5AA15D}"/>
                  </a:ext>
                </a:extLst>
              </p:cNvPr>
              <p:cNvSpPr/>
              <p:nvPr/>
            </p:nvSpPr>
            <p:spPr>
              <a:xfrm>
                <a:off x="2393823" y="1974273"/>
                <a:ext cx="312038" cy="469509"/>
              </a:xfrm>
              <a:custGeom>
                <a:avLst/>
                <a:gdLst>
                  <a:gd name="connsiteX0" fmla="*/ 0 w 312037"/>
                  <a:gd name="connsiteY0" fmla="*/ 261019 h 469509"/>
                  <a:gd name="connsiteX1" fmla="*/ 143119 w 312037"/>
                  <a:gd name="connsiteY1" fmla="*/ 416748 h 469509"/>
                  <a:gd name="connsiteX2" fmla="*/ 143119 w 312037"/>
                  <a:gd name="connsiteY2" fmla="*/ 469568 h 469509"/>
                  <a:gd name="connsiteX3" fmla="*/ 169151 w 312037"/>
                  <a:gd name="connsiteY3" fmla="*/ 469510 h 469509"/>
                  <a:gd name="connsiteX4" fmla="*/ 169151 w 312037"/>
                  <a:gd name="connsiteY4" fmla="*/ 416748 h 469509"/>
                  <a:gd name="connsiteX5" fmla="*/ 312328 w 312037"/>
                  <a:gd name="connsiteY5" fmla="*/ 261019 h 469509"/>
                  <a:gd name="connsiteX6" fmla="*/ 156193 w 312037"/>
                  <a:gd name="connsiteY6" fmla="*/ 104303 h 469509"/>
                  <a:gd name="connsiteX7" fmla="*/ 104187 w 312037"/>
                  <a:gd name="connsiteY7" fmla="*/ 52006 h 469509"/>
                  <a:gd name="connsiteX8" fmla="*/ 156193 w 312037"/>
                  <a:gd name="connsiteY8" fmla="*/ 0 h 469509"/>
                  <a:gd name="connsiteX9" fmla="*/ 208200 w 312037"/>
                  <a:gd name="connsiteY9" fmla="*/ 52006 h 469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2037" h="469509">
                    <a:moveTo>
                      <a:pt x="0" y="261019"/>
                    </a:moveTo>
                    <a:cubicBezTo>
                      <a:pt x="0" y="343009"/>
                      <a:pt x="62989" y="410123"/>
                      <a:pt x="143119" y="416748"/>
                    </a:cubicBezTo>
                    <a:lnTo>
                      <a:pt x="143119" y="469568"/>
                    </a:lnTo>
                    <a:moveTo>
                      <a:pt x="169151" y="469510"/>
                    </a:moveTo>
                    <a:lnTo>
                      <a:pt x="169151" y="416748"/>
                    </a:lnTo>
                    <a:cubicBezTo>
                      <a:pt x="249282" y="410065"/>
                      <a:pt x="312328" y="342951"/>
                      <a:pt x="312328" y="261019"/>
                    </a:cubicBezTo>
                    <a:cubicBezTo>
                      <a:pt x="312328" y="174613"/>
                      <a:pt x="242425" y="104303"/>
                      <a:pt x="156193" y="104303"/>
                    </a:cubicBezTo>
                    <a:cubicBezTo>
                      <a:pt x="127488" y="104303"/>
                      <a:pt x="104187" y="80711"/>
                      <a:pt x="104187" y="52006"/>
                    </a:cubicBezTo>
                    <a:cubicBezTo>
                      <a:pt x="104187" y="23301"/>
                      <a:pt x="127488" y="0"/>
                      <a:pt x="156193" y="0"/>
                    </a:cubicBezTo>
                    <a:cubicBezTo>
                      <a:pt x="184898" y="0"/>
                      <a:pt x="208200" y="23301"/>
                      <a:pt x="208200" y="52006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E8579A32-987D-41CE-BEAF-4962554DDB3D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7B2A711E-5AB8-49BB-9EFF-DB066A575E0F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545B5A4-1871-4885-90B1-679198B76A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23FDD16F-AA14-4DF4-A346-E814A58977C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3" name="Group 6">
            <a:extLst>
              <a:ext uri="{FF2B5EF4-FFF2-40B4-BE49-F238E27FC236}">
                <a16:creationId xmlns:a16="http://schemas.microsoft.com/office/drawing/2014/main" id="{B4119440-4A04-4E73-8EB5-E9582BC0EDD6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5705E515-D525-4977-953D-C2425A136C19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F589FE90-260B-4972-96CA-FEC3F77CE033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289E8088-302C-4B09-B535-DE080CD66D92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FC1B1144-B6A6-4F50-8990-9F63BD0F5545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0594D053-B5A5-45CB-B21A-7419EDA5D310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78201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texte 10">
            <a:extLst>
              <a:ext uri="{FF2B5EF4-FFF2-40B4-BE49-F238E27FC236}">
                <a16:creationId xmlns:a16="http://schemas.microsoft.com/office/drawing/2014/main" id="{80B924F1-AD59-4824-88A4-85E9B63DAD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00800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A5B9E87F-D3B1-42E9-9786-CE1B14AD8C77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6223000" y="1559985"/>
            <a:ext cx="5630333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56E6070-4363-43CC-8338-0591491C1722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6223000" y="4039660"/>
            <a:ext cx="5630333" cy="2248957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4" name="Titre 23">
            <a:extLst>
              <a:ext uri="{FF2B5EF4-FFF2-40B4-BE49-F238E27FC236}">
                <a16:creationId xmlns:a16="http://schemas.microsoft.com/office/drawing/2014/main" id="{6B9FD356-F297-400C-9222-CB391E39E8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CEEA9148-E0F1-4A16-A14B-7FAFC230CA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8667" y="1559985"/>
            <a:ext cx="5630333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121908A-92C7-414A-AC25-6C0DE4927E6A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338667" y="4039660"/>
            <a:ext cx="5630333" cy="2248957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02FB588E-AEDE-4AF3-8AEC-46B22A457DB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67732" y="1"/>
            <a:ext cx="885600" cy="1138181"/>
            <a:chOff x="608663" y="3130115"/>
            <a:chExt cx="1033869" cy="1328738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5B016EE-53BA-48CC-AF6A-F963DDDB7C26}"/>
                </a:ext>
              </a:extLst>
            </p:cNvPr>
            <p:cNvSpPr/>
            <p:nvPr/>
          </p:nvSpPr>
          <p:spPr>
            <a:xfrm>
              <a:off x="608663" y="3130115"/>
              <a:ext cx="1033869" cy="13287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1000" sy="101000" algn="ctr" rotWithShape="0">
                <a:schemeClr val="accent4"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dirty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16" name="Graphique 81">
              <a:extLst>
                <a:ext uri="{FF2B5EF4-FFF2-40B4-BE49-F238E27FC236}">
                  <a16:creationId xmlns:a16="http://schemas.microsoft.com/office/drawing/2014/main" id="{A1649C0E-A54E-42DC-88E9-6A54CFDB9EC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9864" y="3629009"/>
              <a:ext cx="271466" cy="529187"/>
              <a:chOff x="2389465" y="1817499"/>
              <a:chExt cx="321335" cy="626400"/>
            </a:xfrm>
          </p:grpSpPr>
          <p:sp>
            <p:nvSpPr>
              <p:cNvPr id="17" name="Forme libre : forme 16">
                <a:extLst>
                  <a:ext uri="{FF2B5EF4-FFF2-40B4-BE49-F238E27FC236}">
                    <a16:creationId xmlns:a16="http://schemas.microsoft.com/office/drawing/2014/main" id="{D3074410-FCA1-4518-A837-064A1FADD422}"/>
                  </a:ext>
                </a:extLst>
              </p:cNvPr>
              <p:cNvSpPr/>
              <p:nvPr/>
            </p:nvSpPr>
            <p:spPr>
              <a:xfrm>
                <a:off x="2563032" y="1817499"/>
                <a:ext cx="142945" cy="208025"/>
              </a:xfrm>
              <a:custGeom>
                <a:avLst/>
                <a:gdLst>
                  <a:gd name="connsiteX0" fmla="*/ 143119 w 142944"/>
                  <a:gd name="connsiteY0" fmla="*/ 208548 h 208025"/>
                  <a:gd name="connsiteX1" fmla="*/ 0 w 142944"/>
                  <a:gd name="connsiteY1" fmla="*/ 52820 h 208025"/>
                  <a:gd name="connsiteX2" fmla="*/ 0 w 142944"/>
                  <a:gd name="connsiteY2" fmla="*/ 0 h 208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944" h="208025">
                    <a:moveTo>
                      <a:pt x="143119" y="208548"/>
                    </a:moveTo>
                    <a:cubicBezTo>
                      <a:pt x="143119" y="126558"/>
                      <a:pt x="80130" y="59444"/>
                      <a:pt x="0" y="52820"/>
                    </a:cubicBez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DDF2C019-0DE0-4C64-8354-23FBD8D2B370}"/>
                  </a:ext>
                </a:extLst>
              </p:cNvPr>
              <p:cNvSpPr/>
              <p:nvPr/>
            </p:nvSpPr>
            <p:spPr>
              <a:xfrm>
                <a:off x="2393823" y="1817499"/>
                <a:ext cx="259741" cy="521225"/>
              </a:xfrm>
              <a:custGeom>
                <a:avLst/>
                <a:gdLst>
                  <a:gd name="connsiteX0" fmla="*/ 143119 w 259740"/>
                  <a:gd name="connsiteY0" fmla="*/ 0 h 521225"/>
                  <a:gd name="connsiteX1" fmla="*/ 143119 w 259740"/>
                  <a:gd name="connsiteY1" fmla="*/ 52820 h 521225"/>
                  <a:gd name="connsiteX2" fmla="*/ 0 w 259740"/>
                  <a:gd name="connsiteY2" fmla="*/ 208548 h 521225"/>
                  <a:gd name="connsiteX3" fmla="*/ 156135 w 259740"/>
                  <a:gd name="connsiteY3" fmla="*/ 365264 h 521225"/>
                  <a:gd name="connsiteX4" fmla="*/ 208141 w 259740"/>
                  <a:gd name="connsiteY4" fmla="*/ 417561 h 521225"/>
                  <a:gd name="connsiteX5" fmla="*/ 156135 w 259740"/>
                  <a:gd name="connsiteY5" fmla="*/ 469568 h 521225"/>
                  <a:gd name="connsiteX6" fmla="*/ 104129 w 259740"/>
                  <a:gd name="connsiteY6" fmla="*/ 417561 h 521225"/>
                  <a:gd name="connsiteX7" fmla="*/ 52181 w 259740"/>
                  <a:gd name="connsiteY7" fmla="*/ 417503 h 521225"/>
                  <a:gd name="connsiteX8" fmla="*/ 156135 w 259740"/>
                  <a:gd name="connsiteY8" fmla="*/ 521458 h 521225"/>
                  <a:gd name="connsiteX9" fmla="*/ 260090 w 259740"/>
                  <a:gd name="connsiteY9" fmla="*/ 417503 h 521225"/>
                  <a:gd name="connsiteX10" fmla="*/ 156135 w 259740"/>
                  <a:gd name="connsiteY10" fmla="*/ 313142 h 521225"/>
                  <a:gd name="connsiteX11" fmla="*/ 52181 w 259740"/>
                  <a:gd name="connsiteY11" fmla="*/ 208781 h 521225"/>
                  <a:gd name="connsiteX12" fmla="*/ 156135 w 259740"/>
                  <a:gd name="connsiteY12" fmla="*/ 104826 h 521225"/>
                  <a:gd name="connsiteX13" fmla="*/ 260090 w 259740"/>
                  <a:gd name="connsiteY13" fmla="*/ 208781 h 521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9740" h="521225">
                    <a:moveTo>
                      <a:pt x="143119" y="0"/>
                    </a:moveTo>
                    <a:lnTo>
                      <a:pt x="143119" y="52820"/>
                    </a:lnTo>
                    <a:cubicBezTo>
                      <a:pt x="62989" y="59444"/>
                      <a:pt x="0" y="126558"/>
                      <a:pt x="0" y="208548"/>
                    </a:cubicBezTo>
                    <a:cubicBezTo>
                      <a:pt x="0" y="294896"/>
                      <a:pt x="69903" y="365264"/>
                      <a:pt x="156135" y="365264"/>
                    </a:cubicBezTo>
                    <a:cubicBezTo>
                      <a:pt x="184840" y="365264"/>
                      <a:pt x="208141" y="388856"/>
                      <a:pt x="208141" y="417561"/>
                    </a:cubicBezTo>
                    <a:cubicBezTo>
                      <a:pt x="208141" y="446266"/>
                      <a:pt x="184840" y="469568"/>
                      <a:pt x="156135" y="469568"/>
                    </a:cubicBezTo>
                    <a:cubicBezTo>
                      <a:pt x="127430" y="469568"/>
                      <a:pt x="104129" y="446325"/>
                      <a:pt x="104129" y="417561"/>
                    </a:cubicBezTo>
                    <a:moveTo>
                      <a:pt x="52181" y="417503"/>
                    </a:moveTo>
                    <a:cubicBezTo>
                      <a:pt x="52181" y="474913"/>
                      <a:pt x="98725" y="521458"/>
                      <a:pt x="156135" y="521458"/>
                    </a:cubicBezTo>
                    <a:cubicBezTo>
                      <a:pt x="213545" y="521458"/>
                      <a:pt x="260090" y="474913"/>
                      <a:pt x="260090" y="417503"/>
                    </a:cubicBezTo>
                    <a:cubicBezTo>
                      <a:pt x="260090" y="360093"/>
                      <a:pt x="213545" y="313142"/>
                      <a:pt x="156135" y="313142"/>
                    </a:cubicBezTo>
                    <a:cubicBezTo>
                      <a:pt x="98725" y="313142"/>
                      <a:pt x="52181" y="266191"/>
                      <a:pt x="52181" y="208781"/>
                    </a:cubicBezTo>
                    <a:cubicBezTo>
                      <a:pt x="52181" y="151370"/>
                      <a:pt x="98725" y="104826"/>
                      <a:pt x="156135" y="104826"/>
                    </a:cubicBezTo>
                    <a:cubicBezTo>
                      <a:pt x="213545" y="104826"/>
                      <a:pt x="260090" y="151370"/>
                      <a:pt x="260090" y="208781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1" name="Forme libre : forme 20">
                <a:extLst>
                  <a:ext uri="{FF2B5EF4-FFF2-40B4-BE49-F238E27FC236}">
                    <a16:creationId xmlns:a16="http://schemas.microsoft.com/office/drawing/2014/main" id="{D645805A-FB40-4FF6-949A-ED4745CB5AF2}"/>
                  </a:ext>
                </a:extLst>
              </p:cNvPr>
              <p:cNvSpPr/>
              <p:nvPr/>
            </p:nvSpPr>
            <p:spPr>
              <a:xfrm>
                <a:off x="2393823" y="1974273"/>
                <a:ext cx="312038" cy="469509"/>
              </a:xfrm>
              <a:custGeom>
                <a:avLst/>
                <a:gdLst>
                  <a:gd name="connsiteX0" fmla="*/ 0 w 312037"/>
                  <a:gd name="connsiteY0" fmla="*/ 261019 h 469509"/>
                  <a:gd name="connsiteX1" fmla="*/ 143119 w 312037"/>
                  <a:gd name="connsiteY1" fmla="*/ 416748 h 469509"/>
                  <a:gd name="connsiteX2" fmla="*/ 143119 w 312037"/>
                  <a:gd name="connsiteY2" fmla="*/ 469568 h 469509"/>
                  <a:gd name="connsiteX3" fmla="*/ 169151 w 312037"/>
                  <a:gd name="connsiteY3" fmla="*/ 469510 h 469509"/>
                  <a:gd name="connsiteX4" fmla="*/ 169151 w 312037"/>
                  <a:gd name="connsiteY4" fmla="*/ 416748 h 469509"/>
                  <a:gd name="connsiteX5" fmla="*/ 312328 w 312037"/>
                  <a:gd name="connsiteY5" fmla="*/ 261019 h 469509"/>
                  <a:gd name="connsiteX6" fmla="*/ 156193 w 312037"/>
                  <a:gd name="connsiteY6" fmla="*/ 104303 h 469509"/>
                  <a:gd name="connsiteX7" fmla="*/ 104187 w 312037"/>
                  <a:gd name="connsiteY7" fmla="*/ 52006 h 469509"/>
                  <a:gd name="connsiteX8" fmla="*/ 156193 w 312037"/>
                  <a:gd name="connsiteY8" fmla="*/ 0 h 469509"/>
                  <a:gd name="connsiteX9" fmla="*/ 208200 w 312037"/>
                  <a:gd name="connsiteY9" fmla="*/ 52006 h 469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2037" h="469509">
                    <a:moveTo>
                      <a:pt x="0" y="261019"/>
                    </a:moveTo>
                    <a:cubicBezTo>
                      <a:pt x="0" y="343009"/>
                      <a:pt x="62989" y="410123"/>
                      <a:pt x="143119" y="416748"/>
                    </a:cubicBezTo>
                    <a:lnTo>
                      <a:pt x="143119" y="469568"/>
                    </a:lnTo>
                    <a:moveTo>
                      <a:pt x="169151" y="469510"/>
                    </a:moveTo>
                    <a:lnTo>
                      <a:pt x="169151" y="416748"/>
                    </a:lnTo>
                    <a:cubicBezTo>
                      <a:pt x="249282" y="410065"/>
                      <a:pt x="312328" y="342951"/>
                      <a:pt x="312328" y="261019"/>
                    </a:cubicBezTo>
                    <a:cubicBezTo>
                      <a:pt x="312328" y="174613"/>
                      <a:pt x="242425" y="104303"/>
                      <a:pt x="156193" y="104303"/>
                    </a:cubicBezTo>
                    <a:cubicBezTo>
                      <a:pt x="127488" y="104303"/>
                      <a:pt x="104187" y="80711"/>
                      <a:pt x="104187" y="52006"/>
                    </a:cubicBezTo>
                    <a:cubicBezTo>
                      <a:pt x="104187" y="23301"/>
                      <a:pt x="127488" y="0"/>
                      <a:pt x="156193" y="0"/>
                    </a:cubicBezTo>
                    <a:cubicBezTo>
                      <a:pt x="184898" y="0"/>
                      <a:pt x="208200" y="23301"/>
                      <a:pt x="208200" y="52006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AF04776-9214-44E0-9761-0DE01C24F338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6C68DAC6-8411-4787-A526-519B68E271A7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04134D9E-5EB8-48E0-A23F-0772BC9DCB4E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49046B3-B0C3-45F2-8BA9-413C79B075C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9" name="Group 6">
            <a:extLst>
              <a:ext uri="{FF2B5EF4-FFF2-40B4-BE49-F238E27FC236}">
                <a16:creationId xmlns:a16="http://schemas.microsoft.com/office/drawing/2014/main" id="{939EE757-F5E2-4075-B91C-C286B743F99E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6E264AAA-50D3-4BE5-A8F7-EBD0ACD50001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90ADC752-66EC-4DE7-BB72-B64DA5A7EC74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1D31DD34-CAD0-460D-BB77-0ECB6F5C317F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E325274A-4449-4E64-A1EB-C7CDCAE9E2E7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6565AA51-8ECC-4D41-B9FB-E0CDFFAD9BC0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440252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10">
            <a:extLst>
              <a:ext uri="{FF2B5EF4-FFF2-40B4-BE49-F238E27FC236}">
                <a16:creationId xmlns:a16="http://schemas.microsoft.com/office/drawing/2014/main" id="{669D26AF-D380-47F9-A37B-55BE689EAE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00800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5C677D83-9A19-43A8-8FE5-B200C1AB99E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338667" y="1559985"/>
            <a:ext cx="5630333" cy="4728632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0" name="Titre 19">
            <a:extLst>
              <a:ext uri="{FF2B5EF4-FFF2-40B4-BE49-F238E27FC236}">
                <a16:creationId xmlns:a16="http://schemas.microsoft.com/office/drawing/2014/main" id="{9CB99764-F215-4875-8D7E-4B674C3BE5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FC95569C-A80C-433E-A59A-7B19F5F6CBEA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23000" y="1559985"/>
            <a:ext cx="5630333" cy="4728632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7A581C17-5BB7-43B7-AD7D-9E0FBFDD12A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67732" y="1"/>
            <a:ext cx="885600" cy="1138181"/>
            <a:chOff x="608663" y="3130115"/>
            <a:chExt cx="1033869" cy="132873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17635CD-E94C-420C-BA80-13E9439EA59C}"/>
                </a:ext>
              </a:extLst>
            </p:cNvPr>
            <p:cNvSpPr/>
            <p:nvPr/>
          </p:nvSpPr>
          <p:spPr>
            <a:xfrm>
              <a:off x="608663" y="3130115"/>
              <a:ext cx="1033869" cy="13287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1000" sy="101000" algn="ctr" rotWithShape="0">
                <a:schemeClr val="accent4"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dirty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14" name="Graphique 81">
              <a:extLst>
                <a:ext uri="{FF2B5EF4-FFF2-40B4-BE49-F238E27FC236}">
                  <a16:creationId xmlns:a16="http://schemas.microsoft.com/office/drawing/2014/main" id="{7BC4EE14-64CA-4520-8EA1-D699837D655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9864" y="3629009"/>
              <a:ext cx="271466" cy="529187"/>
              <a:chOff x="2389465" y="1817499"/>
              <a:chExt cx="321335" cy="626400"/>
            </a:xfrm>
          </p:grpSpPr>
          <p:sp>
            <p:nvSpPr>
              <p:cNvPr id="22" name="Forme libre : forme 21">
                <a:extLst>
                  <a:ext uri="{FF2B5EF4-FFF2-40B4-BE49-F238E27FC236}">
                    <a16:creationId xmlns:a16="http://schemas.microsoft.com/office/drawing/2014/main" id="{F28E561F-02D0-4940-895A-44ABF482D8B0}"/>
                  </a:ext>
                </a:extLst>
              </p:cNvPr>
              <p:cNvSpPr/>
              <p:nvPr/>
            </p:nvSpPr>
            <p:spPr>
              <a:xfrm>
                <a:off x="2563032" y="1817499"/>
                <a:ext cx="142945" cy="208025"/>
              </a:xfrm>
              <a:custGeom>
                <a:avLst/>
                <a:gdLst>
                  <a:gd name="connsiteX0" fmla="*/ 143119 w 142944"/>
                  <a:gd name="connsiteY0" fmla="*/ 208548 h 208025"/>
                  <a:gd name="connsiteX1" fmla="*/ 0 w 142944"/>
                  <a:gd name="connsiteY1" fmla="*/ 52820 h 208025"/>
                  <a:gd name="connsiteX2" fmla="*/ 0 w 142944"/>
                  <a:gd name="connsiteY2" fmla="*/ 0 h 208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944" h="208025">
                    <a:moveTo>
                      <a:pt x="143119" y="208548"/>
                    </a:moveTo>
                    <a:cubicBezTo>
                      <a:pt x="143119" y="126558"/>
                      <a:pt x="80130" y="59444"/>
                      <a:pt x="0" y="52820"/>
                    </a:cubicBez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4B771A21-AB9C-46A4-84BF-74E23A0DB53E}"/>
                  </a:ext>
                </a:extLst>
              </p:cNvPr>
              <p:cNvSpPr/>
              <p:nvPr/>
            </p:nvSpPr>
            <p:spPr>
              <a:xfrm>
                <a:off x="2393823" y="1817499"/>
                <a:ext cx="259741" cy="521225"/>
              </a:xfrm>
              <a:custGeom>
                <a:avLst/>
                <a:gdLst>
                  <a:gd name="connsiteX0" fmla="*/ 143119 w 259740"/>
                  <a:gd name="connsiteY0" fmla="*/ 0 h 521225"/>
                  <a:gd name="connsiteX1" fmla="*/ 143119 w 259740"/>
                  <a:gd name="connsiteY1" fmla="*/ 52820 h 521225"/>
                  <a:gd name="connsiteX2" fmla="*/ 0 w 259740"/>
                  <a:gd name="connsiteY2" fmla="*/ 208548 h 521225"/>
                  <a:gd name="connsiteX3" fmla="*/ 156135 w 259740"/>
                  <a:gd name="connsiteY3" fmla="*/ 365264 h 521225"/>
                  <a:gd name="connsiteX4" fmla="*/ 208141 w 259740"/>
                  <a:gd name="connsiteY4" fmla="*/ 417561 h 521225"/>
                  <a:gd name="connsiteX5" fmla="*/ 156135 w 259740"/>
                  <a:gd name="connsiteY5" fmla="*/ 469568 h 521225"/>
                  <a:gd name="connsiteX6" fmla="*/ 104129 w 259740"/>
                  <a:gd name="connsiteY6" fmla="*/ 417561 h 521225"/>
                  <a:gd name="connsiteX7" fmla="*/ 52181 w 259740"/>
                  <a:gd name="connsiteY7" fmla="*/ 417503 h 521225"/>
                  <a:gd name="connsiteX8" fmla="*/ 156135 w 259740"/>
                  <a:gd name="connsiteY8" fmla="*/ 521458 h 521225"/>
                  <a:gd name="connsiteX9" fmla="*/ 260090 w 259740"/>
                  <a:gd name="connsiteY9" fmla="*/ 417503 h 521225"/>
                  <a:gd name="connsiteX10" fmla="*/ 156135 w 259740"/>
                  <a:gd name="connsiteY10" fmla="*/ 313142 h 521225"/>
                  <a:gd name="connsiteX11" fmla="*/ 52181 w 259740"/>
                  <a:gd name="connsiteY11" fmla="*/ 208781 h 521225"/>
                  <a:gd name="connsiteX12" fmla="*/ 156135 w 259740"/>
                  <a:gd name="connsiteY12" fmla="*/ 104826 h 521225"/>
                  <a:gd name="connsiteX13" fmla="*/ 260090 w 259740"/>
                  <a:gd name="connsiteY13" fmla="*/ 208781 h 521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9740" h="521225">
                    <a:moveTo>
                      <a:pt x="143119" y="0"/>
                    </a:moveTo>
                    <a:lnTo>
                      <a:pt x="143119" y="52820"/>
                    </a:lnTo>
                    <a:cubicBezTo>
                      <a:pt x="62989" y="59444"/>
                      <a:pt x="0" y="126558"/>
                      <a:pt x="0" y="208548"/>
                    </a:cubicBezTo>
                    <a:cubicBezTo>
                      <a:pt x="0" y="294896"/>
                      <a:pt x="69903" y="365264"/>
                      <a:pt x="156135" y="365264"/>
                    </a:cubicBezTo>
                    <a:cubicBezTo>
                      <a:pt x="184840" y="365264"/>
                      <a:pt x="208141" y="388856"/>
                      <a:pt x="208141" y="417561"/>
                    </a:cubicBezTo>
                    <a:cubicBezTo>
                      <a:pt x="208141" y="446266"/>
                      <a:pt x="184840" y="469568"/>
                      <a:pt x="156135" y="469568"/>
                    </a:cubicBezTo>
                    <a:cubicBezTo>
                      <a:pt x="127430" y="469568"/>
                      <a:pt x="104129" y="446325"/>
                      <a:pt x="104129" y="417561"/>
                    </a:cubicBezTo>
                    <a:moveTo>
                      <a:pt x="52181" y="417503"/>
                    </a:moveTo>
                    <a:cubicBezTo>
                      <a:pt x="52181" y="474913"/>
                      <a:pt x="98725" y="521458"/>
                      <a:pt x="156135" y="521458"/>
                    </a:cubicBezTo>
                    <a:cubicBezTo>
                      <a:pt x="213545" y="521458"/>
                      <a:pt x="260090" y="474913"/>
                      <a:pt x="260090" y="417503"/>
                    </a:cubicBezTo>
                    <a:cubicBezTo>
                      <a:pt x="260090" y="360093"/>
                      <a:pt x="213545" y="313142"/>
                      <a:pt x="156135" y="313142"/>
                    </a:cubicBezTo>
                    <a:cubicBezTo>
                      <a:pt x="98725" y="313142"/>
                      <a:pt x="52181" y="266191"/>
                      <a:pt x="52181" y="208781"/>
                    </a:cubicBezTo>
                    <a:cubicBezTo>
                      <a:pt x="52181" y="151370"/>
                      <a:pt x="98725" y="104826"/>
                      <a:pt x="156135" y="104826"/>
                    </a:cubicBezTo>
                    <a:cubicBezTo>
                      <a:pt x="213545" y="104826"/>
                      <a:pt x="260090" y="151370"/>
                      <a:pt x="260090" y="208781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4" name="Forme libre : forme 23">
                <a:extLst>
                  <a:ext uri="{FF2B5EF4-FFF2-40B4-BE49-F238E27FC236}">
                    <a16:creationId xmlns:a16="http://schemas.microsoft.com/office/drawing/2014/main" id="{290B468D-BD4C-4046-B4F4-C62F90E92226}"/>
                  </a:ext>
                </a:extLst>
              </p:cNvPr>
              <p:cNvSpPr/>
              <p:nvPr/>
            </p:nvSpPr>
            <p:spPr>
              <a:xfrm>
                <a:off x="2393823" y="1974273"/>
                <a:ext cx="312038" cy="469509"/>
              </a:xfrm>
              <a:custGeom>
                <a:avLst/>
                <a:gdLst>
                  <a:gd name="connsiteX0" fmla="*/ 0 w 312037"/>
                  <a:gd name="connsiteY0" fmla="*/ 261019 h 469509"/>
                  <a:gd name="connsiteX1" fmla="*/ 143119 w 312037"/>
                  <a:gd name="connsiteY1" fmla="*/ 416748 h 469509"/>
                  <a:gd name="connsiteX2" fmla="*/ 143119 w 312037"/>
                  <a:gd name="connsiteY2" fmla="*/ 469568 h 469509"/>
                  <a:gd name="connsiteX3" fmla="*/ 169151 w 312037"/>
                  <a:gd name="connsiteY3" fmla="*/ 469510 h 469509"/>
                  <a:gd name="connsiteX4" fmla="*/ 169151 w 312037"/>
                  <a:gd name="connsiteY4" fmla="*/ 416748 h 469509"/>
                  <a:gd name="connsiteX5" fmla="*/ 312328 w 312037"/>
                  <a:gd name="connsiteY5" fmla="*/ 261019 h 469509"/>
                  <a:gd name="connsiteX6" fmla="*/ 156193 w 312037"/>
                  <a:gd name="connsiteY6" fmla="*/ 104303 h 469509"/>
                  <a:gd name="connsiteX7" fmla="*/ 104187 w 312037"/>
                  <a:gd name="connsiteY7" fmla="*/ 52006 h 469509"/>
                  <a:gd name="connsiteX8" fmla="*/ 156193 w 312037"/>
                  <a:gd name="connsiteY8" fmla="*/ 0 h 469509"/>
                  <a:gd name="connsiteX9" fmla="*/ 208200 w 312037"/>
                  <a:gd name="connsiteY9" fmla="*/ 52006 h 469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2037" h="469509">
                    <a:moveTo>
                      <a:pt x="0" y="261019"/>
                    </a:moveTo>
                    <a:cubicBezTo>
                      <a:pt x="0" y="343009"/>
                      <a:pt x="62989" y="410123"/>
                      <a:pt x="143119" y="416748"/>
                    </a:cubicBezTo>
                    <a:lnTo>
                      <a:pt x="143119" y="469568"/>
                    </a:lnTo>
                    <a:moveTo>
                      <a:pt x="169151" y="469510"/>
                    </a:moveTo>
                    <a:lnTo>
                      <a:pt x="169151" y="416748"/>
                    </a:lnTo>
                    <a:cubicBezTo>
                      <a:pt x="249282" y="410065"/>
                      <a:pt x="312328" y="342951"/>
                      <a:pt x="312328" y="261019"/>
                    </a:cubicBezTo>
                    <a:cubicBezTo>
                      <a:pt x="312328" y="174613"/>
                      <a:pt x="242425" y="104303"/>
                      <a:pt x="156193" y="104303"/>
                    </a:cubicBezTo>
                    <a:cubicBezTo>
                      <a:pt x="127488" y="104303"/>
                      <a:pt x="104187" y="80711"/>
                      <a:pt x="104187" y="52006"/>
                    </a:cubicBezTo>
                    <a:cubicBezTo>
                      <a:pt x="104187" y="23301"/>
                      <a:pt x="127488" y="0"/>
                      <a:pt x="156193" y="0"/>
                    </a:cubicBezTo>
                    <a:cubicBezTo>
                      <a:pt x="184898" y="0"/>
                      <a:pt x="208200" y="23301"/>
                      <a:pt x="208200" y="52006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F19BA62-69A8-4680-BDC1-6F3156806E00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3CD7E07C-B518-479C-9600-ED2219D0D8F1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0BA2FD9-FF42-4E0A-9685-94FD2BB0E69C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9939ACA-DCF1-4394-A81B-472747E6590E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6">
            <a:extLst>
              <a:ext uri="{FF2B5EF4-FFF2-40B4-BE49-F238E27FC236}">
                <a16:creationId xmlns:a16="http://schemas.microsoft.com/office/drawing/2014/main" id="{95A9C49F-1ECD-4533-BEB4-90B352A17422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1E673F4B-21A8-42F6-B2A0-292DD6CEF286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F0020CB0-E645-4190-A8D6-96D84C440B22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5684F635-3D5E-4E5B-BF11-8072D4B4EF7C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385B8C3B-4A68-4736-8032-817E600130F8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9149F640-1933-4F89-92EA-E7B13E71807C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64685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F62CD7B5-4EC5-4AEF-9061-B82B2A6900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00800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D942106D-A7BA-423B-A34F-F83869A43D6E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338667" y="1559985"/>
            <a:ext cx="5630333" cy="4728632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0CF2A6DC-EC1D-4DF9-9D19-0326F3319531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223000" y="1559985"/>
            <a:ext cx="5630333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D2046EC2-23D2-4E5B-9751-574AB94A3B69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6223000" y="4039660"/>
            <a:ext cx="5630333" cy="2248957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4" name="Titre 23">
            <a:extLst>
              <a:ext uri="{FF2B5EF4-FFF2-40B4-BE49-F238E27FC236}">
                <a16:creationId xmlns:a16="http://schemas.microsoft.com/office/drawing/2014/main" id="{17AB1C6C-7EFF-4961-A30D-DFDD0D9D73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51305E7E-5808-4E52-B4FE-D43981BDCDD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67732" y="1"/>
            <a:ext cx="885600" cy="1138181"/>
            <a:chOff x="608663" y="3130115"/>
            <a:chExt cx="1033869" cy="1328738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750049B-0C86-4FCB-805F-1092512BF3D2}"/>
                </a:ext>
              </a:extLst>
            </p:cNvPr>
            <p:cNvSpPr/>
            <p:nvPr/>
          </p:nvSpPr>
          <p:spPr>
            <a:xfrm>
              <a:off x="608663" y="3130115"/>
              <a:ext cx="1033869" cy="13287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1000" sy="101000" algn="ctr" rotWithShape="0">
                <a:schemeClr val="accent4"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dirty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15" name="Graphique 81">
              <a:extLst>
                <a:ext uri="{FF2B5EF4-FFF2-40B4-BE49-F238E27FC236}">
                  <a16:creationId xmlns:a16="http://schemas.microsoft.com/office/drawing/2014/main" id="{F1CFE853-97E5-430C-8A45-72A186E1A29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9864" y="3629009"/>
              <a:ext cx="271466" cy="529187"/>
              <a:chOff x="2389465" y="1817499"/>
              <a:chExt cx="321335" cy="626400"/>
            </a:xfrm>
          </p:grpSpPr>
          <p:sp>
            <p:nvSpPr>
              <p:cNvPr id="16" name="Forme libre : forme 15">
                <a:extLst>
                  <a:ext uri="{FF2B5EF4-FFF2-40B4-BE49-F238E27FC236}">
                    <a16:creationId xmlns:a16="http://schemas.microsoft.com/office/drawing/2014/main" id="{C10DC0DA-215D-4DD7-AF10-2B09F65AC4EF}"/>
                  </a:ext>
                </a:extLst>
              </p:cNvPr>
              <p:cNvSpPr/>
              <p:nvPr/>
            </p:nvSpPr>
            <p:spPr>
              <a:xfrm>
                <a:off x="2563032" y="1817499"/>
                <a:ext cx="142945" cy="208025"/>
              </a:xfrm>
              <a:custGeom>
                <a:avLst/>
                <a:gdLst>
                  <a:gd name="connsiteX0" fmla="*/ 143119 w 142944"/>
                  <a:gd name="connsiteY0" fmla="*/ 208548 h 208025"/>
                  <a:gd name="connsiteX1" fmla="*/ 0 w 142944"/>
                  <a:gd name="connsiteY1" fmla="*/ 52820 h 208025"/>
                  <a:gd name="connsiteX2" fmla="*/ 0 w 142944"/>
                  <a:gd name="connsiteY2" fmla="*/ 0 h 208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944" h="208025">
                    <a:moveTo>
                      <a:pt x="143119" y="208548"/>
                    </a:moveTo>
                    <a:cubicBezTo>
                      <a:pt x="143119" y="126558"/>
                      <a:pt x="80130" y="59444"/>
                      <a:pt x="0" y="52820"/>
                    </a:cubicBez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CEFC604E-0C48-4A34-964D-D5F3C406720D}"/>
                  </a:ext>
                </a:extLst>
              </p:cNvPr>
              <p:cNvSpPr/>
              <p:nvPr/>
            </p:nvSpPr>
            <p:spPr>
              <a:xfrm>
                <a:off x="2393823" y="1817499"/>
                <a:ext cx="259741" cy="521225"/>
              </a:xfrm>
              <a:custGeom>
                <a:avLst/>
                <a:gdLst>
                  <a:gd name="connsiteX0" fmla="*/ 143119 w 259740"/>
                  <a:gd name="connsiteY0" fmla="*/ 0 h 521225"/>
                  <a:gd name="connsiteX1" fmla="*/ 143119 w 259740"/>
                  <a:gd name="connsiteY1" fmla="*/ 52820 h 521225"/>
                  <a:gd name="connsiteX2" fmla="*/ 0 w 259740"/>
                  <a:gd name="connsiteY2" fmla="*/ 208548 h 521225"/>
                  <a:gd name="connsiteX3" fmla="*/ 156135 w 259740"/>
                  <a:gd name="connsiteY3" fmla="*/ 365264 h 521225"/>
                  <a:gd name="connsiteX4" fmla="*/ 208141 w 259740"/>
                  <a:gd name="connsiteY4" fmla="*/ 417561 h 521225"/>
                  <a:gd name="connsiteX5" fmla="*/ 156135 w 259740"/>
                  <a:gd name="connsiteY5" fmla="*/ 469568 h 521225"/>
                  <a:gd name="connsiteX6" fmla="*/ 104129 w 259740"/>
                  <a:gd name="connsiteY6" fmla="*/ 417561 h 521225"/>
                  <a:gd name="connsiteX7" fmla="*/ 52181 w 259740"/>
                  <a:gd name="connsiteY7" fmla="*/ 417503 h 521225"/>
                  <a:gd name="connsiteX8" fmla="*/ 156135 w 259740"/>
                  <a:gd name="connsiteY8" fmla="*/ 521458 h 521225"/>
                  <a:gd name="connsiteX9" fmla="*/ 260090 w 259740"/>
                  <a:gd name="connsiteY9" fmla="*/ 417503 h 521225"/>
                  <a:gd name="connsiteX10" fmla="*/ 156135 w 259740"/>
                  <a:gd name="connsiteY10" fmla="*/ 313142 h 521225"/>
                  <a:gd name="connsiteX11" fmla="*/ 52181 w 259740"/>
                  <a:gd name="connsiteY11" fmla="*/ 208781 h 521225"/>
                  <a:gd name="connsiteX12" fmla="*/ 156135 w 259740"/>
                  <a:gd name="connsiteY12" fmla="*/ 104826 h 521225"/>
                  <a:gd name="connsiteX13" fmla="*/ 260090 w 259740"/>
                  <a:gd name="connsiteY13" fmla="*/ 208781 h 521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9740" h="521225">
                    <a:moveTo>
                      <a:pt x="143119" y="0"/>
                    </a:moveTo>
                    <a:lnTo>
                      <a:pt x="143119" y="52820"/>
                    </a:lnTo>
                    <a:cubicBezTo>
                      <a:pt x="62989" y="59444"/>
                      <a:pt x="0" y="126558"/>
                      <a:pt x="0" y="208548"/>
                    </a:cubicBezTo>
                    <a:cubicBezTo>
                      <a:pt x="0" y="294896"/>
                      <a:pt x="69903" y="365264"/>
                      <a:pt x="156135" y="365264"/>
                    </a:cubicBezTo>
                    <a:cubicBezTo>
                      <a:pt x="184840" y="365264"/>
                      <a:pt x="208141" y="388856"/>
                      <a:pt x="208141" y="417561"/>
                    </a:cubicBezTo>
                    <a:cubicBezTo>
                      <a:pt x="208141" y="446266"/>
                      <a:pt x="184840" y="469568"/>
                      <a:pt x="156135" y="469568"/>
                    </a:cubicBezTo>
                    <a:cubicBezTo>
                      <a:pt x="127430" y="469568"/>
                      <a:pt x="104129" y="446325"/>
                      <a:pt x="104129" y="417561"/>
                    </a:cubicBezTo>
                    <a:moveTo>
                      <a:pt x="52181" y="417503"/>
                    </a:moveTo>
                    <a:cubicBezTo>
                      <a:pt x="52181" y="474913"/>
                      <a:pt x="98725" y="521458"/>
                      <a:pt x="156135" y="521458"/>
                    </a:cubicBezTo>
                    <a:cubicBezTo>
                      <a:pt x="213545" y="521458"/>
                      <a:pt x="260090" y="474913"/>
                      <a:pt x="260090" y="417503"/>
                    </a:cubicBezTo>
                    <a:cubicBezTo>
                      <a:pt x="260090" y="360093"/>
                      <a:pt x="213545" y="313142"/>
                      <a:pt x="156135" y="313142"/>
                    </a:cubicBezTo>
                    <a:cubicBezTo>
                      <a:pt x="98725" y="313142"/>
                      <a:pt x="52181" y="266191"/>
                      <a:pt x="52181" y="208781"/>
                    </a:cubicBezTo>
                    <a:cubicBezTo>
                      <a:pt x="52181" y="151370"/>
                      <a:pt x="98725" y="104826"/>
                      <a:pt x="156135" y="104826"/>
                    </a:cubicBezTo>
                    <a:cubicBezTo>
                      <a:pt x="213545" y="104826"/>
                      <a:pt x="260090" y="151370"/>
                      <a:pt x="260090" y="208781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" name="Forme libre : forme 24">
                <a:extLst>
                  <a:ext uri="{FF2B5EF4-FFF2-40B4-BE49-F238E27FC236}">
                    <a16:creationId xmlns:a16="http://schemas.microsoft.com/office/drawing/2014/main" id="{02F271F6-EAB1-4B77-9D81-A9F1ABB579CA}"/>
                  </a:ext>
                </a:extLst>
              </p:cNvPr>
              <p:cNvSpPr/>
              <p:nvPr/>
            </p:nvSpPr>
            <p:spPr>
              <a:xfrm>
                <a:off x="2393823" y="1974273"/>
                <a:ext cx="312038" cy="469509"/>
              </a:xfrm>
              <a:custGeom>
                <a:avLst/>
                <a:gdLst>
                  <a:gd name="connsiteX0" fmla="*/ 0 w 312037"/>
                  <a:gd name="connsiteY0" fmla="*/ 261019 h 469509"/>
                  <a:gd name="connsiteX1" fmla="*/ 143119 w 312037"/>
                  <a:gd name="connsiteY1" fmla="*/ 416748 h 469509"/>
                  <a:gd name="connsiteX2" fmla="*/ 143119 w 312037"/>
                  <a:gd name="connsiteY2" fmla="*/ 469568 h 469509"/>
                  <a:gd name="connsiteX3" fmla="*/ 169151 w 312037"/>
                  <a:gd name="connsiteY3" fmla="*/ 469510 h 469509"/>
                  <a:gd name="connsiteX4" fmla="*/ 169151 w 312037"/>
                  <a:gd name="connsiteY4" fmla="*/ 416748 h 469509"/>
                  <a:gd name="connsiteX5" fmla="*/ 312328 w 312037"/>
                  <a:gd name="connsiteY5" fmla="*/ 261019 h 469509"/>
                  <a:gd name="connsiteX6" fmla="*/ 156193 w 312037"/>
                  <a:gd name="connsiteY6" fmla="*/ 104303 h 469509"/>
                  <a:gd name="connsiteX7" fmla="*/ 104187 w 312037"/>
                  <a:gd name="connsiteY7" fmla="*/ 52006 h 469509"/>
                  <a:gd name="connsiteX8" fmla="*/ 156193 w 312037"/>
                  <a:gd name="connsiteY8" fmla="*/ 0 h 469509"/>
                  <a:gd name="connsiteX9" fmla="*/ 208200 w 312037"/>
                  <a:gd name="connsiteY9" fmla="*/ 52006 h 469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2037" h="469509">
                    <a:moveTo>
                      <a:pt x="0" y="261019"/>
                    </a:moveTo>
                    <a:cubicBezTo>
                      <a:pt x="0" y="343009"/>
                      <a:pt x="62989" y="410123"/>
                      <a:pt x="143119" y="416748"/>
                    </a:cubicBezTo>
                    <a:lnTo>
                      <a:pt x="143119" y="469568"/>
                    </a:lnTo>
                    <a:moveTo>
                      <a:pt x="169151" y="469510"/>
                    </a:moveTo>
                    <a:lnTo>
                      <a:pt x="169151" y="416748"/>
                    </a:lnTo>
                    <a:cubicBezTo>
                      <a:pt x="249282" y="410065"/>
                      <a:pt x="312328" y="342951"/>
                      <a:pt x="312328" y="261019"/>
                    </a:cubicBezTo>
                    <a:cubicBezTo>
                      <a:pt x="312328" y="174613"/>
                      <a:pt x="242425" y="104303"/>
                      <a:pt x="156193" y="104303"/>
                    </a:cubicBezTo>
                    <a:cubicBezTo>
                      <a:pt x="127488" y="104303"/>
                      <a:pt x="104187" y="80711"/>
                      <a:pt x="104187" y="52006"/>
                    </a:cubicBezTo>
                    <a:cubicBezTo>
                      <a:pt x="104187" y="23301"/>
                      <a:pt x="127488" y="0"/>
                      <a:pt x="156193" y="0"/>
                    </a:cubicBezTo>
                    <a:cubicBezTo>
                      <a:pt x="184898" y="0"/>
                      <a:pt x="208200" y="23301"/>
                      <a:pt x="208200" y="52006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B198D7B7-69A6-4612-BB63-1F674182C545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5ED56B62-3981-448F-BEC7-E2CF24DE4CE0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55E5BE3-652E-4CFA-9611-8D1DC470F341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889C4D5-8009-45F0-ADFD-05FA87468D51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8" name="Group 6">
            <a:extLst>
              <a:ext uri="{FF2B5EF4-FFF2-40B4-BE49-F238E27FC236}">
                <a16:creationId xmlns:a16="http://schemas.microsoft.com/office/drawing/2014/main" id="{F941BE88-CD48-4744-899A-4B294574AAED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38D57792-E193-4240-8A7C-3E73BF71D769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AA53CD20-DE43-4CAB-B5EE-3E81E6748D4F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E6B8D974-6DB2-471E-90DE-A907B250597C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5F2C29F2-A21C-419B-A889-EB82EDC97D63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5EE67ABE-6657-4825-9FFC-8B19EE32708F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45279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0578376B-8826-4CA9-AA15-43AD2C2D91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00800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35C0AC94-9E05-42B2-91E7-D390447400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57DFE15E-B2FE-4427-B6F2-A351353574FC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23000" y="1559985"/>
            <a:ext cx="5630333" cy="4728632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C1B3EB88-E182-416C-9316-B5DBB405A2E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8667" y="1559985"/>
            <a:ext cx="5630333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ECAE18A9-14CE-431F-A79B-78085CC207A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338667" y="4039660"/>
            <a:ext cx="5630333" cy="2248957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B4B9C38D-4C64-47A7-9973-C837C29DD4B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67732" y="1"/>
            <a:ext cx="885600" cy="1138181"/>
            <a:chOff x="608663" y="3130115"/>
            <a:chExt cx="1033869" cy="1328738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CEE5FD4-78D9-46F6-BE8A-54F0C5B3A19B}"/>
                </a:ext>
              </a:extLst>
            </p:cNvPr>
            <p:cNvSpPr/>
            <p:nvPr/>
          </p:nvSpPr>
          <p:spPr>
            <a:xfrm>
              <a:off x="608663" y="3130115"/>
              <a:ext cx="1033869" cy="13287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1000" sy="101000" algn="ctr" rotWithShape="0">
                <a:schemeClr val="accent4"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dirty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15" name="Graphique 81">
              <a:extLst>
                <a:ext uri="{FF2B5EF4-FFF2-40B4-BE49-F238E27FC236}">
                  <a16:creationId xmlns:a16="http://schemas.microsoft.com/office/drawing/2014/main" id="{7B562B21-AE32-4B6E-B53B-02D8CBCBFCE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9864" y="3629009"/>
              <a:ext cx="271466" cy="529187"/>
              <a:chOff x="2389465" y="1817499"/>
              <a:chExt cx="321335" cy="626400"/>
            </a:xfrm>
          </p:grpSpPr>
          <p:sp>
            <p:nvSpPr>
              <p:cNvPr id="16" name="Forme libre : forme 15">
                <a:extLst>
                  <a:ext uri="{FF2B5EF4-FFF2-40B4-BE49-F238E27FC236}">
                    <a16:creationId xmlns:a16="http://schemas.microsoft.com/office/drawing/2014/main" id="{7EE790A2-42A9-4CC3-8F38-1ACFE149ACC8}"/>
                  </a:ext>
                </a:extLst>
              </p:cNvPr>
              <p:cNvSpPr/>
              <p:nvPr/>
            </p:nvSpPr>
            <p:spPr>
              <a:xfrm>
                <a:off x="2563032" y="1817499"/>
                <a:ext cx="142945" cy="208025"/>
              </a:xfrm>
              <a:custGeom>
                <a:avLst/>
                <a:gdLst>
                  <a:gd name="connsiteX0" fmla="*/ 143119 w 142944"/>
                  <a:gd name="connsiteY0" fmla="*/ 208548 h 208025"/>
                  <a:gd name="connsiteX1" fmla="*/ 0 w 142944"/>
                  <a:gd name="connsiteY1" fmla="*/ 52820 h 208025"/>
                  <a:gd name="connsiteX2" fmla="*/ 0 w 142944"/>
                  <a:gd name="connsiteY2" fmla="*/ 0 h 208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944" h="208025">
                    <a:moveTo>
                      <a:pt x="143119" y="208548"/>
                    </a:moveTo>
                    <a:cubicBezTo>
                      <a:pt x="143119" y="126558"/>
                      <a:pt x="80130" y="59444"/>
                      <a:pt x="0" y="52820"/>
                    </a:cubicBez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677F2D0D-CF2D-4390-8699-D485A5D602A7}"/>
                  </a:ext>
                </a:extLst>
              </p:cNvPr>
              <p:cNvSpPr/>
              <p:nvPr/>
            </p:nvSpPr>
            <p:spPr>
              <a:xfrm>
                <a:off x="2393823" y="1817499"/>
                <a:ext cx="259741" cy="521225"/>
              </a:xfrm>
              <a:custGeom>
                <a:avLst/>
                <a:gdLst>
                  <a:gd name="connsiteX0" fmla="*/ 143119 w 259740"/>
                  <a:gd name="connsiteY0" fmla="*/ 0 h 521225"/>
                  <a:gd name="connsiteX1" fmla="*/ 143119 w 259740"/>
                  <a:gd name="connsiteY1" fmla="*/ 52820 h 521225"/>
                  <a:gd name="connsiteX2" fmla="*/ 0 w 259740"/>
                  <a:gd name="connsiteY2" fmla="*/ 208548 h 521225"/>
                  <a:gd name="connsiteX3" fmla="*/ 156135 w 259740"/>
                  <a:gd name="connsiteY3" fmla="*/ 365264 h 521225"/>
                  <a:gd name="connsiteX4" fmla="*/ 208141 w 259740"/>
                  <a:gd name="connsiteY4" fmla="*/ 417561 h 521225"/>
                  <a:gd name="connsiteX5" fmla="*/ 156135 w 259740"/>
                  <a:gd name="connsiteY5" fmla="*/ 469568 h 521225"/>
                  <a:gd name="connsiteX6" fmla="*/ 104129 w 259740"/>
                  <a:gd name="connsiteY6" fmla="*/ 417561 h 521225"/>
                  <a:gd name="connsiteX7" fmla="*/ 52181 w 259740"/>
                  <a:gd name="connsiteY7" fmla="*/ 417503 h 521225"/>
                  <a:gd name="connsiteX8" fmla="*/ 156135 w 259740"/>
                  <a:gd name="connsiteY8" fmla="*/ 521458 h 521225"/>
                  <a:gd name="connsiteX9" fmla="*/ 260090 w 259740"/>
                  <a:gd name="connsiteY9" fmla="*/ 417503 h 521225"/>
                  <a:gd name="connsiteX10" fmla="*/ 156135 w 259740"/>
                  <a:gd name="connsiteY10" fmla="*/ 313142 h 521225"/>
                  <a:gd name="connsiteX11" fmla="*/ 52181 w 259740"/>
                  <a:gd name="connsiteY11" fmla="*/ 208781 h 521225"/>
                  <a:gd name="connsiteX12" fmla="*/ 156135 w 259740"/>
                  <a:gd name="connsiteY12" fmla="*/ 104826 h 521225"/>
                  <a:gd name="connsiteX13" fmla="*/ 260090 w 259740"/>
                  <a:gd name="connsiteY13" fmla="*/ 208781 h 521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9740" h="521225">
                    <a:moveTo>
                      <a:pt x="143119" y="0"/>
                    </a:moveTo>
                    <a:lnTo>
                      <a:pt x="143119" y="52820"/>
                    </a:lnTo>
                    <a:cubicBezTo>
                      <a:pt x="62989" y="59444"/>
                      <a:pt x="0" y="126558"/>
                      <a:pt x="0" y="208548"/>
                    </a:cubicBezTo>
                    <a:cubicBezTo>
                      <a:pt x="0" y="294896"/>
                      <a:pt x="69903" y="365264"/>
                      <a:pt x="156135" y="365264"/>
                    </a:cubicBezTo>
                    <a:cubicBezTo>
                      <a:pt x="184840" y="365264"/>
                      <a:pt x="208141" y="388856"/>
                      <a:pt x="208141" y="417561"/>
                    </a:cubicBezTo>
                    <a:cubicBezTo>
                      <a:pt x="208141" y="446266"/>
                      <a:pt x="184840" y="469568"/>
                      <a:pt x="156135" y="469568"/>
                    </a:cubicBezTo>
                    <a:cubicBezTo>
                      <a:pt x="127430" y="469568"/>
                      <a:pt x="104129" y="446325"/>
                      <a:pt x="104129" y="417561"/>
                    </a:cubicBezTo>
                    <a:moveTo>
                      <a:pt x="52181" y="417503"/>
                    </a:moveTo>
                    <a:cubicBezTo>
                      <a:pt x="52181" y="474913"/>
                      <a:pt x="98725" y="521458"/>
                      <a:pt x="156135" y="521458"/>
                    </a:cubicBezTo>
                    <a:cubicBezTo>
                      <a:pt x="213545" y="521458"/>
                      <a:pt x="260090" y="474913"/>
                      <a:pt x="260090" y="417503"/>
                    </a:cubicBezTo>
                    <a:cubicBezTo>
                      <a:pt x="260090" y="360093"/>
                      <a:pt x="213545" y="313142"/>
                      <a:pt x="156135" y="313142"/>
                    </a:cubicBezTo>
                    <a:cubicBezTo>
                      <a:pt x="98725" y="313142"/>
                      <a:pt x="52181" y="266191"/>
                      <a:pt x="52181" y="208781"/>
                    </a:cubicBezTo>
                    <a:cubicBezTo>
                      <a:pt x="52181" y="151370"/>
                      <a:pt x="98725" y="104826"/>
                      <a:pt x="156135" y="104826"/>
                    </a:cubicBezTo>
                    <a:cubicBezTo>
                      <a:pt x="213545" y="104826"/>
                      <a:pt x="260090" y="151370"/>
                      <a:pt x="260090" y="208781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1" name="Forme libre : forme 20">
                <a:extLst>
                  <a:ext uri="{FF2B5EF4-FFF2-40B4-BE49-F238E27FC236}">
                    <a16:creationId xmlns:a16="http://schemas.microsoft.com/office/drawing/2014/main" id="{15B054C4-4EE7-4696-B4F1-881681FAC50E}"/>
                  </a:ext>
                </a:extLst>
              </p:cNvPr>
              <p:cNvSpPr/>
              <p:nvPr/>
            </p:nvSpPr>
            <p:spPr>
              <a:xfrm>
                <a:off x="2393823" y="1974273"/>
                <a:ext cx="312038" cy="469509"/>
              </a:xfrm>
              <a:custGeom>
                <a:avLst/>
                <a:gdLst>
                  <a:gd name="connsiteX0" fmla="*/ 0 w 312037"/>
                  <a:gd name="connsiteY0" fmla="*/ 261019 h 469509"/>
                  <a:gd name="connsiteX1" fmla="*/ 143119 w 312037"/>
                  <a:gd name="connsiteY1" fmla="*/ 416748 h 469509"/>
                  <a:gd name="connsiteX2" fmla="*/ 143119 w 312037"/>
                  <a:gd name="connsiteY2" fmla="*/ 469568 h 469509"/>
                  <a:gd name="connsiteX3" fmla="*/ 169151 w 312037"/>
                  <a:gd name="connsiteY3" fmla="*/ 469510 h 469509"/>
                  <a:gd name="connsiteX4" fmla="*/ 169151 w 312037"/>
                  <a:gd name="connsiteY4" fmla="*/ 416748 h 469509"/>
                  <a:gd name="connsiteX5" fmla="*/ 312328 w 312037"/>
                  <a:gd name="connsiteY5" fmla="*/ 261019 h 469509"/>
                  <a:gd name="connsiteX6" fmla="*/ 156193 w 312037"/>
                  <a:gd name="connsiteY6" fmla="*/ 104303 h 469509"/>
                  <a:gd name="connsiteX7" fmla="*/ 104187 w 312037"/>
                  <a:gd name="connsiteY7" fmla="*/ 52006 h 469509"/>
                  <a:gd name="connsiteX8" fmla="*/ 156193 w 312037"/>
                  <a:gd name="connsiteY8" fmla="*/ 0 h 469509"/>
                  <a:gd name="connsiteX9" fmla="*/ 208200 w 312037"/>
                  <a:gd name="connsiteY9" fmla="*/ 52006 h 469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2037" h="469509">
                    <a:moveTo>
                      <a:pt x="0" y="261019"/>
                    </a:moveTo>
                    <a:cubicBezTo>
                      <a:pt x="0" y="343009"/>
                      <a:pt x="62989" y="410123"/>
                      <a:pt x="143119" y="416748"/>
                    </a:cubicBezTo>
                    <a:lnTo>
                      <a:pt x="143119" y="469568"/>
                    </a:lnTo>
                    <a:moveTo>
                      <a:pt x="169151" y="469510"/>
                    </a:moveTo>
                    <a:lnTo>
                      <a:pt x="169151" y="416748"/>
                    </a:lnTo>
                    <a:cubicBezTo>
                      <a:pt x="249282" y="410065"/>
                      <a:pt x="312328" y="342951"/>
                      <a:pt x="312328" y="261019"/>
                    </a:cubicBezTo>
                    <a:cubicBezTo>
                      <a:pt x="312328" y="174613"/>
                      <a:pt x="242425" y="104303"/>
                      <a:pt x="156193" y="104303"/>
                    </a:cubicBezTo>
                    <a:cubicBezTo>
                      <a:pt x="127488" y="104303"/>
                      <a:pt x="104187" y="80711"/>
                      <a:pt x="104187" y="52006"/>
                    </a:cubicBezTo>
                    <a:cubicBezTo>
                      <a:pt x="104187" y="23301"/>
                      <a:pt x="127488" y="0"/>
                      <a:pt x="156193" y="0"/>
                    </a:cubicBezTo>
                    <a:cubicBezTo>
                      <a:pt x="184898" y="0"/>
                      <a:pt x="208200" y="23301"/>
                      <a:pt x="208200" y="52006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E976061B-C4C9-403D-BD0D-A2E226EF2BC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91975D7D-5FF3-4E74-BD84-54A7D159ADF0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36C5416-BD24-4F30-8226-208FA2B5C02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D39495B-78FC-4C31-90F0-DBE9601D290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2" name="Group 6">
            <a:extLst>
              <a:ext uri="{FF2B5EF4-FFF2-40B4-BE49-F238E27FC236}">
                <a16:creationId xmlns:a16="http://schemas.microsoft.com/office/drawing/2014/main" id="{A9DD5DC7-241F-4A28-85AB-6858C02D6528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3BC63327-2D89-4BE9-8010-A1158338F082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AEE2E884-072B-4BB8-82E3-91140086B567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5AD7B050-2E5F-4736-8F69-BDE380FBF28E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D7786D6F-B055-41E0-874D-0CFF3E6003B6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FB6E99B3-0316-48AE-A82B-858248F840DD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12641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texte 10">
            <a:extLst>
              <a:ext uri="{FF2B5EF4-FFF2-40B4-BE49-F238E27FC236}">
                <a16:creationId xmlns:a16="http://schemas.microsoft.com/office/drawing/2014/main" id="{199F1E9E-F43F-4E88-9880-2FC6649656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00800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9BFD1C1-2DE3-4C3E-A37F-741E2980069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8667" y="1335036"/>
            <a:ext cx="5630400" cy="517064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 on </a:t>
            </a:r>
            <a:br>
              <a:rPr lang="en-US" dirty="0"/>
            </a:br>
            <a:r>
              <a:rPr lang="en-US" dirty="0"/>
              <a:t>two line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14B52D54-D3DC-47C0-9F5A-4474BDF0364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8667" y="2121653"/>
            <a:ext cx="5630333" cy="4166964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6E3FEA5-7295-445A-B686-95D5611FF61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22933" y="1335036"/>
            <a:ext cx="5630400" cy="517064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 on </a:t>
            </a:r>
            <a:br>
              <a:rPr lang="en-US" dirty="0"/>
            </a:br>
            <a:r>
              <a:rPr lang="en-US" dirty="0"/>
              <a:t>two lin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8D8C24C4-A463-4C30-A922-DDE2C59BE470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23000" y="2121653"/>
            <a:ext cx="5630333" cy="4166964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33" name="Titre 32">
            <a:extLst>
              <a:ext uri="{FF2B5EF4-FFF2-40B4-BE49-F238E27FC236}">
                <a16:creationId xmlns:a16="http://schemas.microsoft.com/office/drawing/2014/main" id="{1668648D-1A71-45A6-8938-21F200AF7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6FFC390A-F514-43E5-8575-6AA82C9AEF8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67732" y="1"/>
            <a:ext cx="885600" cy="1138181"/>
            <a:chOff x="608663" y="3130115"/>
            <a:chExt cx="1033869" cy="1328738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978D3B3-A8ED-4926-8FE8-C7DE335C0D48}"/>
                </a:ext>
              </a:extLst>
            </p:cNvPr>
            <p:cNvSpPr/>
            <p:nvPr/>
          </p:nvSpPr>
          <p:spPr>
            <a:xfrm>
              <a:off x="608663" y="3130115"/>
              <a:ext cx="1033869" cy="13287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1000" sy="101000" algn="ctr" rotWithShape="0">
                <a:schemeClr val="accent4"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dirty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16" name="Graphique 81">
              <a:extLst>
                <a:ext uri="{FF2B5EF4-FFF2-40B4-BE49-F238E27FC236}">
                  <a16:creationId xmlns:a16="http://schemas.microsoft.com/office/drawing/2014/main" id="{11C5D566-0157-46DC-9746-6C88B60DFAD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9864" y="3629009"/>
              <a:ext cx="271466" cy="529187"/>
              <a:chOff x="2389465" y="1817499"/>
              <a:chExt cx="321335" cy="626400"/>
            </a:xfrm>
          </p:grpSpPr>
          <p:sp>
            <p:nvSpPr>
              <p:cNvPr id="17" name="Forme libre : forme 16">
                <a:extLst>
                  <a:ext uri="{FF2B5EF4-FFF2-40B4-BE49-F238E27FC236}">
                    <a16:creationId xmlns:a16="http://schemas.microsoft.com/office/drawing/2014/main" id="{16181C4F-DBCE-490D-8E79-668898507858}"/>
                  </a:ext>
                </a:extLst>
              </p:cNvPr>
              <p:cNvSpPr/>
              <p:nvPr/>
            </p:nvSpPr>
            <p:spPr>
              <a:xfrm>
                <a:off x="2563032" y="1817499"/>
                <a:ext cx="142945" cy="208025"/>
              </a:xfrm>
              <a:custGeom>
                <a:avLst/>
                <a:gdLst>
                  <a:gd name="connsiteX0" fmla="*/ 143119 w 142944"/>
                  <a:gd name="connsiteY0" fmla="*/ 208548 h 208025"/>
                  <a:gd name="connsiteX1" fmla="*/ 0 w 142944"/>
                  <a:gd name="connsiteY1" fmla="*/ 52820 h 208025"/>
                  <a:gd name="connsiteX2" fmla="*/ 0 w 142944"/>
                  <a:gd name="connsiteY2" fmla="*/ 0 h 208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944" h="208025">
                    <a:moveTo>
                      <a:pt x="143119" y="208548"/>
                    </a:moveTo>
                    <a:cubicBezTo>
                      <a:pt x="143119" y="126558"/>
                      <a:pt x="80130" y="59444"/>
                      <a:pt x="0" y="52820"/>
                    </a:cubicBez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BFB37D21-7A5F-46D5-A2FD-C92F4B3AB199}"/>
                  </a:ext>
                </a:extLst>
              </p:cNvPr>
              <p:cNvSpPr/>
              <p:nvPr/>
            </p:nvSpPr>
            <p:spPr>
              <a:xfrm>
                <a:off x="2393823" y="1817499"/>
                <a:ext cx="259741" cy="521225"/>
              </a:xfrm>
              <a:custGeom>
                <a:avLst/>
                <a:gdLst>
                  <a:gd name="connsiteX0" fmla="*/ 143119 w 259740"/>
                  <a:gd name="connsiteY0" fmla="*/ 0 h 521225"/>
                  <a:gd name="connsiteX1" fmla="*/ 143119 w 259740"/>
                  <a:gd name="connsiteY1" fmla="*/ 52820 h 521225"/>
                  <a:gd name="connsiteX2" fmla="*/ 0 w 259740"/>
                  <a:gd name="connsiteY2" fmla="*/ 208548 h 521225"/>
                  <a:gd name="connsiteX3" fmla="*/ 156135 w 259740"/>
                  <a:gd name="connsiteY3" fmla="*/ 365264 h 521225"/>
                  <a:gd name="connsiteX4" fmla="*/ 208141 w 259740"/>
                  <a:gd name="connsiteY4" fmla="*/ 417561 h 521225"/>
                  <a:gd name="connsiteX5" fmla="*/ 156135 w 259740"/>
                  <a:gd name="connsiteY5" fmla="*/ 469568 h 521225"/>
                  <a:gd name="connsiteX6" fmla="*/ 104129 w 259740"/>
                  <a:gd name="connsiteY6" fmla="*/ 417561 h 521225"/>
                  <a:gd name="connsiteX7" fmla="*/ 52181 w 259740"/>
                  <a:gd name="connsiteY7" fmla="*/ 417503 h 521225"/>
                  <a:gd name="connsiteX8" fmla="*/ 156135 w 259740"/>
                  <a:gd name="connsiteY8" fmla="*/ 521458 h 521225"/>
                  <a:gd name="connsiteX9" fmla="*/ 260090 w 259740"/>
                  <a:gd name="connsiteY9" fmla="*/ 417503 h 521225"/>
                  <a:gd name="connsiteX10" fmla="*/ 156135 w 259740"/>
                  <a:gd name="connsiteY10" fmla="*/ 313142 h 521225"/>
                  <a:gd name="connsiteX11" fmla="*/ 52181 w 259740"/>
                  <a:gd name="connsiteY11" fmla="*/ 208781 h 521225"/>
                  <a:gd name="connsiteX12" fmla="*/ 156135 w 259740"/>
                  <a:gd name="connsiteY12" fmla="*/ 104826 h 521225"/>
                  <a:gd name="connsiteX13" fmla="*/ 260090 w 259740"/>
                  <a:gd name="connsiteY13" fmla="*/ 208781 h 521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9740" h="521225">
                    <a:moveTo>
                      <a:pt x="143119" y="0"/>
                    </a:moveTo>
                    <a:lnTo>
                      <a:pt x="143119" y="52820"/>
                    </a:lnTo>
                    <a:cubicBezTo>
                      <a:pt x="62989" y="59444"/>
                      <a:pt x="0" y="126558"/>
                      <a:pt x="0" y="208548"/>
                    </a:cubicBezTo>
                    <a:cubicBezTo>
                      <a:pt x="0" y="294896"/>
                      <a:pt x="69903" y="365264"/>
                      <a:pt x="156135" y="365264"/>
                    </a:cubicBezTo>
                    <a:cubicBezTo>
                      <a:pt x="184840" y="365264"/>
                      <a:pt x="208141" y="388856"/>
                      <a:pt x="208141" y="417561"/>
                    </a:cubicBezTo>
                    <a:cubicBezTo>
                      <a:pt x="208141" y="446266"/>
                      <a:pt x="184840" y="469568"/>
                      <a:pt x="156135" y="469568"/>
                    </a:cubicBezTo>
                    <a:cubicBezTo>
                      <a:pt x="127430" y="469568"/>
                      <a:pt x="104129" y="446325"/>
                      <a:pt x="104129" y="417561"/>
                    </a:cubicBezTo>
                    <a:moveTo>
                      <a:pt x="52181" y="417503"/>
                    </a:moveTo>
                    <a:cubicBezTo>
                      <a:pt x="52181" y="474913"/>
                      <a:pt x="98725" y="521458"/>
                      <a:pt x="156135" y="521458"/>
                    </a:cubicBezTo>
                    <a:cubicBezTo>
                      <a:pt x="213545" y="521458"/>
                      <a:pt x="260090" y="474913"/>
                      <a:pt x="260090" y="417503"/>
                    </a:cubicBezTo>
                    <a:cubicBezTo>
                      <a:pt x="260090" y="360093"/>
                      <a:pt x="213545" y="313142"/>
                      <a:pt x="156135" y="313142"/>
                    </a:cubicBezTo>
                    <a:cubicBezTo>
                      <a:pt x="98725" y="313142"/>
                      <a:pt x="52181" y="266191"/>
                      <a:pt x="52181" y="208781"/>
                    </a:cubicBezTo>
                    <a:cubicBezTo>
                      <a:pt x="52181" y="151370"/>
                      <a:pt x="98725" y="104826"/>
                      <a:pt x="156135" y="104826"/>
                    </a:cubicBezTo>
                    <a:cubicBezTo>
                      <a:pt x="213545" y="104826"/>
                      <a:pt x="260090" y="151370"/>
                      <a:pt x="260090" y="208781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9" name="Forme libre : forme 18">
                <a:extLst>
                  <a:ext uri="{FF2B5EF4-FFF2-40B4-BE49-F238E27FC236}">
                    <a16:creationId xmlns:a16="http://schemas.microsoft.com/office/drawing/2014/main" id="{354FCAB7-7A3C-47B4-969D-C61363B5E08A}"/>
                  </a:ext>
                </a:extLst>
              </p:cNvPr>
              <p:cNvSpPr/>
              <p:nvPr/>
            </p:nvSpPr>
            <p:spPr>
              <a:xfrm>
                <a:off x="2393823" y="1974273"/>
                <a:ext cx="312038" cy="469509"/>
              </a:xfrm>
              <a:custGeom>
                <a:avLst/>
                <a:gdLst>
                  <a:gd name="connsiteX0" fmla="*/ 0 w 312037"/>
                  <a:gd name="connsiteY0" fmla="*/ 261019 h 469509"/>
                  <a:gd name="connsiteX1" fmla="*/ 143119 w 312037"/>
                  <a:gd name="connsiteY1" fmla="*/ 416748 h 469509"/>
                  <a:gd name="connsiteX2" fmla="*/ 143119 w 312037"/>
                  <a:gd name="connsiteY2" fmla="*/ 469568 h 469509"/>
                  <a:gd name="connsiteX3" fmla="*/ 169151 w 312037"/>
                  <a:gd name="connsiteY3" fmla="*/ 469510 h 469509"/>
                  <a:gd name="connsiteX4" fmla="*/ 169151 w 312037"/>
                  <a:gd name="connsiteY4" fmla="*/ 416748 h 469509"/>
                  <a:gd name="connsiteX5" fmla="*/ 312328 w 312037"/>
                  <a:gd name="connsiteY5" fmla="*/ 261019 h 469509"/>
                  <a:gd name="connsiteX6" fmla="*/ 156193 w 312037"/>
                  <a:gd name="connsiteY6" fmla="*/ 104303 h 469509"/>
                  <a:gd name="connsiteX7" fmla="*/ 104187 w 312037"/>
                  <a:gd name="connsiteY7" fmla="*/ 52006 h 469509"/>
                  <a:gd name="connsiteX8" fmla="*/ 156193 w 312037"/>
                  <a:gd name="connsiteY8" fmla="*/ 0 h 469509"/>
                  <a:gd name="connsiteX9" fmla="*/ 208200 w 312037"/>
                  <a:gd name="connsiteY9" fmla="*/ 52006 h 469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2037" h="469509">
                    <a:moveTo>
                      <a:pt x="0" y="261019"/>
                    </a:moveTo>
                    <a:cubicBezTo>
                      <a:pt x="0" y="343009"/>
                      <a:pt x="62989" y="410123"/>
                      <a:pt x="143119" y="416748"/>
                    </a:cubicBezTo>
                    <a:lnTo>
                      <a:pt x="143119" y="469568"/>
                    </a:lnTo>
                    <a:moveTo>
                      <a:pt x="169151" y="469510"/>
                    </a:moveTo>
                    <a:lnTo>
                      <a:pt x="169151" y="416748"/>
                    </a:lnTo>
                    <a:cubicBezTo>
                      <a:pt x="249282" y="410065"/>
                      <a:pt x="312328" y="342951"/>
                      <a:pt x="312328" y="261019"/>
                    </a:cubicBezTo>
                    <a:cubicBezTo>
                      <a:pt x="312328" y="174613"/>
                      <a:pt x="242425" y="104303"/>
                      <a:pt x="156193" y="104303"/>
                    </a:cubicBezTo>
                    <a:cubicBezTo>
                      <a:pt x="127488" y="104303"/>
                      <a:pt x="104187" y="80711"/>
                      <a:pt x="104187" y="52006"/>
                    </a:cubicBezTo>
                    <a:cubicBezTo>
                      <a:pt x="104187" y="23301"/>
                      <a:pt x="127488" y="0"/>
                      <a:pt x="156193" y="0"/>
                    </a:cubicBezTo>
                    <a:cubicBezTo>
                      <a:pt x="184898" y="0"/>
                      <a:pt x="208200" y="23301"/>
                      <a:pt x="208200" y="52006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0AE6AC8-FDFE-4654-B956-DFB347A5BFF5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30E69612-18B3-4AA8-B557-F0F2D6759643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BA59DF5-7223-4A98-B935-D3C465B5ACD2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44177F5C-BECA-4E54-9A08-1C0158F3A6E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0" name="Group 6">
            <a:extLst>
              <a:ext uri="{FF2B5EF4-FFF2-40B4-BE49-F238E27FC236}">
                <a16:creationId xmlns:a16="http://schemas.microsoft.com/office/drawing/2014/main" id="{D4DC02F7-0FEB-471F-8ACE-37BCED93DC60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3B2E501A-D8C4-4631-8E2B-264CE7199272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C96580AE-0A09-4D92-9745-4632FB5C0D46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2675D041-0CED-4A05-8098-EDF1E114C954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5BCDB2E4-3D1B-44EC-BCE3-DF0107F7E965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AA34ED06-0263-419A-9CB8-C925AB032D1D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49572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2 - Spli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texte 10">
            <a:extLst>
              <a:ext uri="{FF2B5EF4-FFF2-40B4-BE49-F238E27FC236}">
                <a16:creationId xmlns:a16="http://schemas.microsoft.com/office/drawing/2014/main" id="{0435FF82-D0C1-4276-9BCF-7C4A814EA9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00800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2C691F-F0E9-4C11-8945-68CDA9497E4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8667" y="1335037"/>
            <a:ext cx="5630400" cy="258532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F65C258C-959A-4A08-AC42-B64FEC86F56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8667" y="1863121"/>
            <a:ext cx="5630333" cy="21024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56A624C-89EE-40A4-B110-DAA87220B84E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22933" y="1335037"/>
            <a:ext cx="5630400" cy="258532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73583236-4AA8-498A-9BE7-2CAECA6AF7B2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23000" y="1863121"/>
            <a:ext cx="5630333" cy="21024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7" name="Titre 26">
            <a:extLst>
              <a:ext uri="{FF2B5EF4-FFF2-40B4-BE49-F238E27FC236}">
                <a16:creationId xmlns:a16="http://schemas.microsoft.com/office/drawing/2014/main" id="{F6A27B6A-075D-4824-B4FE-B0B9F75690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0764B1B-A341-4DA2-A0E1-CE5D9BA84944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8667" y="4188672"/>
            <a:ext cx="5630333" cy="21024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FF272557-AAFE-4C1A-B0E9-F14A7A220BE5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6223000" y="4188672"/>
            <a:ext cx="5630333" cy="21024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35DBEB23-0CA4-4984-898C-1ACACA174ED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67732" y="1"/>
            <a:ext cx="885600" cy="1138181"/>
            <a:chOff x="608663" y="3130115"/>
            <a:chExt cx="1033869" cy="1328738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513E2BF-4C81-4BAA-80DC-9A47FD6AFE54}"/>
                </a:ext>
              </a:extLst>
            </p:cNvPr>
            <p:cNvSpPr/>
            <p:nvPr/>
          </p:nvSpPr>
          <p:spPr>
            <a:xfrm>
              <a:off x="608663" y="3130115"/>
              <a:ext cx="1033869" cy="13287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1000" sy="101000" algn="ctr" rotWithShape="0">
                <a:schemeClr val="accent4"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dirty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18" name="Graphique 81">
              <a:extLst>
                <a:ext uri="{FF2B5EF4-FFF2-40B4-BE49-F238E27FC236}">
                  <a16:creationId xmlns:a16="http://schemas.microsoft.com/office/drawing/2014/main" id="{13F827D3-6F6E-48A0-99D7-E8A3FABBC27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9864" y="3629009"/>
              <a:ext cx="271466" cy="529187"/>
              <a:chOff x="2389465" y="1817499"/>
              <a:chExt cx="321335" cy="626400"/>
            </a:xfrm>
          </p:grpSpPr>
          <p:sp>
            <p:nvSpPr>
              <p:cNvPr id="19" name="Forme libre : forme 18">
                <a:extLst>
                  <a:ext uri="{FF2B5EF4-FFF2-40B4-BE49-F238E27FC236}">
                    <a16:creationId xmlns:a16="http://schemas.microsoft.com/office/drawing/2014/main" id="{1BE89A1B-6C88-45FF-86FA-FE811686A1CF}"/>
                  </a:ext>
                </a:extLst>
              </p:cNvPr>
              <p:cNvSpPr/>
              <p:nvPr/>
            </p:nvSpPr>
            <p:spPr>
              <a:xfrm>
                <a:off x="2563032" y="1817499"/>
                <a:ext cx="142945" cy="208025"/>
              </a:xfrm>
              <a:custGeom>
                <a:avLst/>
                <a:gdLst>
                  <a:gd name="connsiteX0" fmla="*/ 143119 w 142944"/>
                  <a:gd name="connsiteY0" fmla="*/ 208548 h 208025"/>
                  <a:gd name="connsiteX1" fmla="*/ 0 w 142944"/>
                  <a:gd name="connsiteY1" fmla="*/ 52820 h 208025"/>
                  <a:gd name="connsiteX2" fmla="*/ 0 w 142944"/>
                  <a:gd name="connsiteY2" fmla="*/ 0 h 208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944" h="208025">
                    <a:moveTo>
                      <a:pt x="143119" y="208548"/>
                    </a:moveTo>
                    <a:cubicBezTo>
                      <a:pt x="143119" y="126558"/>
                      <a:pt x="80130" y="59444"/>
                      <a:pt x="0" y="52820"/>
                    </a:cubicBez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0" name="Forme libre : forme 19">
                <a:extLst>
                  <a:ext uri="{FF2B5EF4-FFF2-40B4-BE49-F238E27FC236}">
                    <a16:creationId xmlns:a16="http://schemas.microsoft.com/office/drawing/2014/main" id="{95401190-E09A-4417-B43C-7DA529EFFA36}"/>
                  </a:ext>
                </a:extLst>
              </p:cNvPr>
              <p:cNvSpPr/>
              <p:nvPr/>
            </p:nvSpPr>
            <p:spPr>
              <a:xfrm>
                <a:off x="2393823" y="1817499"/>
                <a:ext cx="259741" cy="521225"/>
              </a:xfrm>
              <a:custGeom>
                <a:avLst/>
                <a:gdLst>
                  <a:gd name="connsiteX0" fmla="*/ 143119 w 259740"/>
                  <a:gd name="connsiteY0" fmla="*/ 0 h 521225"/>
                  <a:gd name="connsiteX1" fmla="*/ 143119 w 259740"/>
                  <a:gd name="connsiteY1" fmla="*/ 52820 h 521225"/>
                  <a:gd name="connsiteX2" fmla="*/ 0 w 259740"/>
                  <a:gd name="connsiteY2" fmla="*/ 208548 h 521225"/>
                  <a:gd name="connsiteX3" fmla="*/ 156135 w 259740"/>
                  <a:gd name="connsiteY3" fmla="*/ 365264 h 521225"/>
                  <a:gd name="connsiteX4" fmla="*/ 208141 w 259740"/>
                  <a:gd name="connsiteY4" fmla="*/ 417561 h 521225"/>
                  <a:gd name="connsiteX5" fmla="*/ 156135 w 259740"/>
                  <a:gd name="connsiteY5" fmla="*/ 469568 h 521225"/>
                  <a:gd name="connsiteX6" fmla="*/ 104129 w 259740"/>
                  <a:gd name="connsiteY6" fmla="*/ 417561 h 521225"/>
                  <a:gd name="connsiteX7" fmla="*/ 52181 w 259740"/>
                  <a:gd name="connsiteY7" fmla="*/ 417503 h 521225"/>
                  <a:gd name="connsiteX8" fmla="*/ 156135 w 259740"/>
                  <a:gd name="connsiteY8" fmla="*/ 521458 h 521225"/>
                  <a:gd name="connsiteX9" fmla="*/ 260090 w 259740"/>
                  <a:gd name="connsiteY9" fmla="*/ 417503 h 521225"/>
                  <a:gd name="connsiteX10" fmla="*/ 156135 w 259740"/>
                  <a:gd name="connsiteY10" fmla="*/ 313142 h 521225"/>
                  <a:gd name="connsiteX11" fmla="*/ 52181 w 259740"/>
                  <a:gd name="connsiteY11" fmla="*/ 208781 h 521225"/>
                  <a:gd name="connsiteX12" fmla="*/ 156135 w 259740"/>
                  <a:gd name="connsiteY12" fmla="*/ 104826 h 521225"/>
                  <a:gd name="connsiteX13" fmla="*/ 260090 w 259740"/>
                  <a:gd name="connsiteY13" fmla="*/ 208781 h 521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9740" h="521225">
                    <a:moveTo>
                      <a:pt x="143119" y="0"/>
                    </a:moveTo>
                    <a:lnTo>
                      <a:pt x="143119" y="52820"/>
                    </a:lnTo>
                    <a:cubicBezTo>
                      <a:pt x="62989" y="59444"/>
                      <a:pt x="0" y="126558"/>
                      <a:pt x="0" y="208548"/>
                    </a:cubicBezTo>
                    <a:cubicBezTo>
                      <a:pt x="0" y="294896"/>
                      <a:pt x="69903" y="365264"/>
                      <a:pt x="156135" y="365264"/>
                    </a:cubicBezTo>
                    <a:cubicBezTo>
                      <a:pt x="184840" y="365264"/>
                      <a:pt x="208141" y="388856"/>
                      <a:pt x="208141" y="417561"/>
                    </a:cubicBezTo>
                    <a:cubicBezTo>
                      <a:pt x="208141" y="446266"/>
                      <a:pt x="184840" y="469568"/>
                      <a:pt x="156135" y="469568"/>
                    </a:cubicBezTo>
                    <a:cubicBezTo>
                      <a:pt x="127430" y="469568"/>
                      <a:pt x="104129" y="446325"/>
                      <a:pt x="104129" y="417561"/>
                    </a:cubicBezTo>
                    <a:moveTo>
                      <a:pt x="52181" y="417503"/>
                    </a:moveTo>
                    <a:cubicBezTo>
                      <a:pt x="52181" y="474913"/>
                      <a:pt x="98725" y="521458"/>
                      <a:pt x="156135" y="521458"/>
                    </a:cubicBezTo>
                    <a:cubicBezTo>
                      <a:pt x="213545" y="521458"/>
                      <a:pt x="260090" y="474913"/>
                      <a:pt x="260090" y="417503"/>
                    </a:cubicBezTo>
                    <a:cubicBezTo>
                      <a:pt x="260090" y="360093"/>
                      <a:pt x="213545" y="313142"/>
                      <a:pt x="156135" y="313142"/>
                    </a:cubicBezTo>
                    <a:cubicBezTo>
                      <a:pt x="98725" y="313142"/>
                      <a:pt x="52181" y="266191"/>
                      <a:pt x="52181" y="208781"/>
                    </a:cubicBezTo>
                    <a:cubicBezTo>
                      <a:pt x="52181" y="151370"/>
                      <a:pt x="98725" y="104826"/>
                      <a:pt x="156135" y="104826"/>
                    </a:cubicBezTo>
                    <a:cubicBezTo>
                      <a:pt x="213545" y="104826"/>
                      <a:pt x="260090" y="151370"/>
                      <a:pt x="260090" y="208781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0" name="Forme libre : forme 29">
                <a:extLst>
                  <a:ext uri="{FF2B5EF4-FFF2-40B4-BE49-F238E27FC236}">
                    <a16:creationId xmlns:a16="http://schemas.microsoft.com/office/drawing/2014/main" id="{C0D963A4-3349-43C7-B056-D2404EE18851}"/>
                  </a:ext>
                </a:extLst>
              </p:cNvPr>
              <p:cNvSpPr/>
              <p:nvPr/>
            </p:nvSpPr>
            <p:spPr>
              <a:xfrm>
                <a:off x="2393823" y="1974273"/>
                <a:ext cx="312038" cy="469509"/>
              </a:xfrm>
              <a:custGeom>
                <a:avLst/>
                <a:gdLst>
                  <a:gd name="connsiteX0" fmla="*/ 0 w 312037"/>
                  <a:gd name="connsiteY0" fmla="*/ 261019 h 469509"/>
                  <a:gd name="connsiteX1" fmla="*/ 143119 w 312037"/>
                  <a:gd name="connsiteY1" fmla="*/ 416748 h 469509"/>
                  <a:gd name="connsiteX2" fmla="*/ 143119 w 312037"/>
                  <a:gd name="connsiteY2" fmla="*/ 469568 h 469509"/>
                  <a:gd name="connsiteX3" fmla="*/ 169151 w 312037"/>
                  <a:gd name="connsiteY3" fmla="*/ 469510 h 469509"/>
                  <a:gd name="connsiteX4" fmla="*/ 169151 w 312037"/>
                  <a:gd name="connsiteY4" fmla="*/ 416748 h 469509"/>
                  <a:gd name="connsiteX5" fmla="*/ 312328 w 312037"/>
                  <a:gd name="connsiteY5" fmla="*/ 261019 h 469509"/>
                  <a:gd name="connsiteX6" fmla="*/ 156193 w 312037"/>
                  <a:gd name="connsiteY6" fmla="*/ 104303 h 469509"/>
                  <a:gd name="connsiteX7" fmla="*/ 104187 w 312037"/>
                  <a:gd name="connsiteY7" fmla="*/ 52006 h 469509"/>
                  <a:gd name="connsiteX8" fmla="*/ 156193 w 312037"/>
                  <a:gd name="connsiteY8" fmla="*/ 0 h 469509"/>
                  <a:gd name="connsiteX9" fmla="*/ 208200 w 312037"/>
                  <a:gd name="connsiteY9" fmla="*/ 52006 h 469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2037" h="469509">
                    <a:moveTo>
                      <a:pt x="0" y="261019"/>
                    </a:moveTo>
                    <a:cubicBezTo>
                      <a:pt x="0" y="343009"/>
                      <a:pt x="62989" y="410123"/>
                      <a:pt x="143119" y="416748"/>
                    </a:cubicBezTo>
                    <a:lnTo>
                      <a:pt x="143119" y="469568"/>
                    </a:lnTo>
                    <a:moveTo>
                      <a:pt x="169151" y="469510"/>
                    </a:moveTo>
                    <a:lnTo>
                      <a:pt x="169151" y="416748"/>
                    </a:lnTo>
                    <a:cubicBezTo>
                      <a:pt x="249282" y="410065"/>
                      <a:pt x="312328" y="342951"/>
                      <a:pt x="312328" y="261019"/>
                    </a:cubicBezTo>
                    <a:cubicBezTo>
                      <a:pt x="312328" y="174613"/>
                      <a:pt x="242425" y="104303"/>
                      <a:pt x="156193" y="104303"/>
                    </a:cubicBezTo>
                    <a:cubicBezTo>
                      <a:pt x="127488" y="104303"/>
                      <a:pt x="104187" y="80711"/>
                      <a:pt x="104187" y="52006"/>
                    </a:cubicBezTo>
                    <a:cubicBezTo>
                      <a:pt x="104187" y="23301"/>
                      <a:pt x="127488" y="0"/>
                      <a:pt x="156193" y="0"/>
                    </a:cubicBezTo>
                    <a:cubicBezTo>
                      <a:pt x="184898" y="0"/>
                      <a:pt x="208200" y="23301"/>
                      <a:pt x="208200" y="52006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3EB0E39-5AD7-4B1E-9EC9-E7CD4C791EE0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FB7D17B7-4C1E-4225-ABCD-7EE549AF1069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195340D-11C9-4C14-9FE0-ADC8C104F99E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ED091F1-B9CB-4E24-B4B8-F315CBDA2352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1" name="Group 6">
            <a:extLst>
              <a:ext uri="{FF2B5EF4-FFF2-40B4-BE49-F238E27FC236}">
                <a16:creationId xmlns:a16="http://schemas.microsoft.com/office/drawing/2014/main" id="{33E021D6-6E9B-44B8-9E6A-2F8CCCCF6D66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6F5FE62F-457D-4A05-B789-D2B50008ED8D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1D5C8EAA-41C1-4958-9735-683119B0BCF5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3FF7330-5D14-4A01-BCA2-2126370B5557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ABE5D66D-B321-4D65-B28F-600E7655BC9F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1E8CBD3E-72E1-4190-ADD8-1D8887BA362C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03744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u texte 10">
            <a:extLst>
              <a:ext uri="{FF2B5EF4-FFF2-40B4-BE49-F238E27FC236}">
                <a16:creationId xmlns:a16="http://schemas.microsoft.com/office/drawing/2014/main" id="{F6A4B138-B2F9-4AE2-8521-24A05B76D1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00800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E028069-E1A3-4F4E-AAFA-385C2685F5D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8667" y="1335037"/>
            <a:ext cx="5630400" cy="258532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92F247E-4922-4DDB-8EA6-23713FA7F08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8667" y="1863122"/>
            <a:ext cx="5630333" cy="1831365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7BD60B3-1E2F-4299-891B-C891A0FECC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22933" y="1335037"/>
            <a:ext cx="5630400" cy="258532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4AA82F6-B5BE-4C4E-8419-E5601C6D4866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8667" y="3931622"/>
            <a:ext cx="5630400" cy="258532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1EE8F3D2-DF58-4D96-AA95-1FD1AB146B55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8667" y="4459707"/>
            <a:ext cx="5630333" cy="1831365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05066E87-CD49-4BD4-AB5A-FFC86B58E479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23000" y="1863122"/>
            <a:ext cx="5630333" cy="1831365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E11D5F49-A95B-4707-8D06-05635D112DF7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6222933" y="3931622"/>
            <a:ext cx="5630400" cy="258532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B9388BF0-4514-419E-A2CB-9753357C8167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6223000" y="4459707"/>
            <a:ext cx="5630333" cy="1831365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34" name="Titre 33">
            <a:extLst>
              <a:ext uri="{FF2B5EF4-FFF2-40B4-BE49-F238E27FC236}">
                <a16:creationId xmlns:a16="http://schemas.microsoft.com/office/drawing/2014/main" id="{8E88DD22-9C1A-4944-BBD0-D373DCB9AF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A942C6E8-8076-4E6A-AA30-ABE55A79D15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67732" y="1"/>
            <a:ext cx="885600" cy="1138181"/>
            <a:chOff x="608663" y="3130115"/>
            <a:chExt cx="1033869" cy="1328738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FDBE36D-DB05-4C4C-8210-8B26EA3FDE80}"/>
                </a:ext>
              </a:extLst>
            </p:cNvPr>
            <p:cNvSpPr/>
            <p:nvPr/>
          </p:nvSpPr>
          <p:spPr>
            <a:xfrm>
              <a:off x="608663" y="3130115"/>
              <a:ext cx="1033869" cy="13287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1000" sy="101000" algn="ctr" rotWithShape="0">
                <a:schemeClr val="accent4"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dirty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20" name="Graphique 81">
              <a:extLst>
                <a:ext uri="{FF2B5EF4-FFF2-40B4-BE49-F238E27FC236}">
                  <a16:creationId xmlns:a16="http://schemas.microsoft.com/office/drawing/2014/main" id="{52C3652A-9285-4D76-8339-5FCB8A07FF3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9864" y="3629009"/>
              <a:ext cx="271466" cy="529187"/>
              <a:chOff x="2389465" y="1817499"/>
              <a:chExt cx="321335" cy="626400"/>
            </a:xfrm>
          </p:grpSpPr>
          <p:sp>
            <p:nvSpPr>
              <p:cNvPr id="21" name="Forme libre : forme 20">
                <a:extLst>
                  <a:ext uri="{FF2B5EF4-FFF2-40B4-BE49-F238E27FC236}">
                    <a16:creationId xmlns:a16="http://schemas.microsoft.com/office/drawing/2014/main" id="{2C78932A-DDA9-4EDE-A2A3-4B3C0D173EA5}"/>
                  </a:ext>
                </a:extLst>
              </p:cNvPr>
              <p:cNvSpPr/>
              <p:nvPr/>
            </p:nvSpPr>
            <p:spPr>
              <a:xfrm>
                <a:off x="2563032" y="1817499"/>
                <a:ext cx="142945" cy="208025"/>
              </a:xfrm>
              <a:custGeom>
                <a:avLst/>
                <a:gdLst>
                  <a:gd name="connsiteX0" fmla="*/ 143119 w 142944"/>
                  <a:gd name="connsiteY0" fmla="*/ 208548 h 208025"/>
                  <a:gd name="connsiteX1" fmla="*/ 0 w 142944"/>
                  <a:gd name="connsiteY1" fmla="*/ 52820 h 208025"/>
                  <a:gd name="connsiteX2" fmla="*/ 0 w 142944"/>
                  <a:gd name="connsiteY2" fmla="*/ 0 h 208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944" h="208025">
                    <a:moveTo>
                      <a:pt x="143119" y="208548"/>
                    </a:moveTo>
                    <a:cubicBezTo>
                      <a:pt x="143119" y="126558"/>
                      <a:pt x="80130" y="59444"/>
                      <a:pt x="0" y="52820"/>
                    </a:cubicBez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2" name="Forme libre : forme 21">
                <a:extLst>
                  <a:ext uri="{FF2B5EF4-FFF2-40B4-BE49-F238E27FC236}">
                    <a16:creationId xmlns:a16="http://schemas.microsoft.com/office/drawing/2014/main" id="{97FB7F69-8F0B-46C9-8595-44895592A2E2}"/>
                  </a:ext>
                </a:extLst>
              </p:cNvPr>
              <p:cNvSpPr/>
              <p:nvPr/>
            </p:nvSpPr>
            <p:spPr>
              <a:xfrm>
                <a:off x="2393823" y="1817499"/>
                <a:ext cx="259741" cy="521225"/>
              </a:xfrm>
              <a:custGeom>
                <a:avLst/>
                <a:gdLst>
                  <a:gd name="connsiteX0" fmla="*/ 143119 w 259740"/>
                  <a:gd name="connsiteY0" fmla="*/ 0 h 521225"/>
                  <a:gd name="connsiteX1" fmla="*/ 143119 w 259740"/>
                  <a:gd name="connsiteY1" fmla="*/ 52820 h 521225"/>
                  <a:gd name="connsiteX2" fmla="*/ 0 w 259740"/>
                  <a:gd name="connsiteY2" fmla="*/ 208548 h 521225"/>
                  <a:gd name="connsiteX3" fmla="*/ 156135 w 259740"/>
                  <a:gd name="connsiteY3" fmla="*/ 365264 h 521225"/>
                  <a:gd name="connsiteX4" fmla="*/ 208141 w 259740"/>
                  <a:gd name="connsiteY4" fmla="*/ 417561 h 521225"/>
                  <a:gd name="connsiteX5" fmla="*/ 156135 w 259740"/>
                  <a:gd name="connsiteY5" fmla="*/ 469568 h 521225"/>
                  <a:gd name="connsiteX6" fmla="*/ 104129 w 259740"/>
                  <a:gd name="connsiteY6" fmla="*/ 417561 h 521225"/>
                  <a:gd name="connsiteX7" fmla="*/ 52181 w 259740"/>
                  <a:gd name="connsiteY7" fmla="*/ 417503 h 521225"/>
                  <a:gd name="connsiteX8" fmla="*/ 156135 w 259740"/>
                  <a:gd name="connsiteY8" fmla="*/ 521458 h 521225"/>
                  <a:gd name="connsiteX9" fmla="*/ 260090 w 259740"/>
                  <a:gd name="connsiteY9" fmla="*/ 417503 h 521225"/>
                  <a:gd name="connsiteX10" fmla="*/ 156135 w 259740"/>
                  <a:gd name="connsiteY10" fmla="*/ 313142 h 521225"/>
                  <a:gd name="connsiteX11" fmla="*/ 52181 w 259740"/>
                  <a:gd name="connsiteY11" fmla="*/ 208781 h 521225"/>
                  <a:gd name="connsiteX12" fmla="*/ 156135 w 259740"/>
                  <a:gd name="connsiteY12" fmla="*/ 104826 h 521225"/>
                  <a:gd name="connsiteX13" fmla="*/ 260090 w 259740"/>
                  <a:gd name="connsiteY13" fmla="*/ 208781 h 521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9740" h="521225">
                    <a:moveTo>
                      <a:pt x="143119" y="0"/>
                    </a:moveTo>
                    <a:lnTo>
                      <a:pt x="143119" y="52820"/>
                    </a:lnTo>
                    <a:cubicBezTo>
                      <a:pt x="62989" y="59444"/>
                      <a:pt x="0" y="126558"/>
                      <a:pt x="0" y="208548"/>
                    </a:cubicBezTo>
                    <a:cubicBezTo>
                      <a:pt x="0" y="294896"/>
                      <a:pt x="69903" y="365264"/>
                      <a:pt x="156135" y="365264"/>
                    </a:cubicBezTo>
                    <a:cubicBezTo>
                      <a:pt x="184840" y="365264"/>
                      <a:pt x="208141" y="388856"/>
                      <a:pt x="208141" y="417561"/>
                    </a:cubicBezTo>
                    <a:cubicBezTo>
                      <a:pt x="208141" y="446266"/>
                      <a:pt x="184840" y="469568"/>
                      <a:pt x="156135" y="469568"/>
                    </a:cubicBezTo>
                    <a:cubicBezTo>
                      <a:pt x="127430" y="469568"/>
                      <a:pt x="104129" y="446325"/>
                      <a:pt x="104129" y="417561"/>
                    </a:cubicBezTo>
                    <a:moveTo>
                      <a:pt x="52181" y="417503"/>
                    </a:moveTo>
                    <a:cubicBezTo>
                      <a:pt x="52181" y="474913"/>
                      <a:pt x="98725" y="521458"/>
                      <a:pt x="156135" y="521458"/>
                    </a:cubicBezTo>
                    <a:cubicBezTo>
                      <a:pt x="213545" y="521458"/>
                      <a:pt x="260090" y="474913"/>
                      <a:pt x="260090" y="417503"/>
                    </a:cubicBezTo>
                    <a:cubicBezTo>
                      <a:pt x="260090" y="360093"/>
                      <a:pt x="213545" y="313142"/>
                      <a:pt x="156135" y="313142"/>
                    </a:cubicBezTo>
                    <a:cubicBezTo>
                      <a:pt x="98725" y="313142"/>
                      <a:pt x="52181" y="266191"/>
                      <a:pt x="52181" y="208781"/>
                    </a:cubicBezTo>
                    <a:cubicBezTo>
                      <a:pt x="52181" y="151370"/>
                      <a:pt x="98725" y="104826"/>
                      <a:pt x="156135" y="104826"/>
                    </a:cubicBezTo>
                    <a:cubicBezTo>
                      <a:pt x="213545" y="104826"/>
                      <a:pt x="260090" y="151370"/>
                      <a:pt x="260090" y="208781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5671F43C-6AFF-45A8-BB99-89A6CC658D02}"/>
                  </a:ext>
                </a:extLst>
              </p:cNvPr>
              <p:cNvSpPr/>
              <p:nvPr/>
            </p:nvSpPr>
            <p:spPr>
              <a:xfrm>
                <a:off x="2393823" y="1974273"/>
                <a:ext cx="312038" cy="469509"/>
              </a:xfrm>
              <a:custGeom>
                <a:avLst/>
                <a:gdLst>
                  <a:gd name="connsiteX0" fmla="*/ 0 w 312037"/>
                  <a:gd name="connsiteY0" fmla="*/ 261019 h 469509"/>
                  <a:gd name="connsiteX1" fmla="*/ 143119 w 312037"/>
                  <a:gd name="connsiteY1" fmla="*/ 416748 h 469509"/>
                  <a:gd name="connsiteX2" fmla="*/ 143119 w 312037"/>
                  <a:gd name="connsiteY2" fmla="*/ 469568 h 469509"/>
                  <a:gd name="connsiteX3" fmla="*/ 169151 w 312037"/>
                  <a:gd name="connsiteY3" fmla="*/ 469510 h 469509"/>
                  <a:gd name="connsiteX4" fmla="*/ 169151 w 312037"/>
                  <a:gd name="connsiteY4" fmla="*/ 416748 h 469509"/>
                  <a:gd name="connsiteX5" fmla="*/ 312328 w 312037"/>
                  <a:gd name="connsiteY5" fmla="*/ 261019 h 469509"/>
                  <a:gd name="connsiteX6" fmla="*/ 156193 w 312037"/>
                  <a:gd name="connsiteY6" fmla="*/ 104303 h 469509"/>
                  <a:gd name="connsiteX7" fmla="*/ 104187 w 312037"/>
                  <a:gd name="connsiteY7" fmla="*/ 52006 h 469509"/>
                  <a:gd name="connsiteX8" fmla="*/ 156193 w 312037"/>
                  <a:gd name="connsiteY8" fmla="*/ 0 h 469509"/>
                  <a:gd name="connsiteX9" fmla="*/ 208200 w 312037"/>
                  <a:gd name="connsiteY9" fmla="*/ 52006 h 469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2037" h="469509">
                    <a:moveTo>
                      <a:pt x="0" y="261019"/>
                    </a:moveTo>
                    <a:cubicBezTo>
                      <a:pt x="0" y="343009"/>
                      <a:pt x="62989" y="410123"/>
                      <a:pt x="143119" y="416748"/>
                    </a:cubicBezTo>
                    <a:lnTo>
                      <a:pt x="143119" y="469568"/>
                    </a:lnTo>
                    <a:moveTo>
                      <a:pt x="169151" y="469510"/>
                    </a:moveTo>
                    <a:lnTo>
                      <a:pt x="169151" y="416748"/>
                    </a:lnTo>
                    <a:cubicBezTo>
                      <a:pt x="249282" y="410065"/>
                      <a:pt x="312328" y="342951"/>
                      <a:pt x="312328" y="261019"/>
                    </a:cubicBezTo>
                    <a:cubicBezTo>
                      <a:pt x="312328" y="174613"/>
                      <a:pt x="242425" y="104303"/>
                      <a:pt x="156193" y="104303"/>
                    </a:cubicBezTo>
                    <a:cubicBezTo>
                      <a:pt x="127488" y="104303"/>
                      <a:pt x="104187" y="80711"/>
                      <a:pt x="104187" y="52006"/>
                    </a:cubicBezTo>
                    <a:cubicBezTo>
                      <a:pt x="104187" y="23301"/>
                      <a:pt x="127488" y="0"/>
                      <a:pt x="156193" y="0"/>
                    </a:cubicBezTo>
                    <a:cubicBezTo>
                      <a:pt x="184898" y="0"/>
                      <a:pt x="208200" y="23301"/>
                      <a:pt x="208200" y="52006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FCED2C7-648E-4C91-992F-0232AFED625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CE9B7DE-1C1C-4797-8494-C98D8D9CEB22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B6DF5D0-70BA-4A93-9FC7-AB3638A9FF6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8F684723-3447-45F8-BFD3-45212E075121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7" name="Group 6">
            <a:extLst>
              <a:ext uri="{FF2B5EF4-FFF2-40B4-BE49-F238E27FC236}">
                <a16:creationId xmlns:a16="http://schemas.microsoft.com/office/drawing/2014/main" id="{974C4783-5DEC-425B-959B-AA44FFE93198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846FA319-AD1C-494B-8045-8537B8D2C056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EABD9CBB-36F5-4B86-946E-0DFA689EE459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55D79C34-9DD6-40EA-8980-14411E8300F8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151D5111-843A-4F10-B238-D1A0484CDCD7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89B45874-B0BB-4F75-9913-F0751BA7FEDC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59579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3 -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8667" y="1335037"/>
            <a:ext cx="3667200" cy="258532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8667" y="1863120"/>
            <a:ext cx="3668184" cy="4427952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262400" y="1860672"/>
            <a:ext cx="3667200" cy="44304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D00BD138-D0EB-471F-8959-D06CEB58A2E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186133" y="1860672"/>
            <a:ext cx="3667200" cy="44304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3" name="Espace réservé du texte 10">
            <a:extLst>
              <a:ext uri="{FF2B5EF4-FFF2-40B4-BE49-F238E27FC236}">
                <a16:creationId xmlns:a16="http://schemas.microsoft.com/office/drawing/2014/main" id="{EF8597F6-E8D3-4055-B3C0-33A809E9B0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00800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12E6803B-C620-4C52-B6FD-1DA08572C08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262400" y="1335037"/>
            <a:ext cx="3667200" cy="258532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02046F3-C792-438F-A842-976FD4BE5E2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86133" y="1335037"/>
            <a:ext cx="3667200" cy="258532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9" name="Titre 28">
            <a:extLst>
              <a:ext uri="{FF2B5EF4-FFF2-40B4-BE49-F238E27FC236}">
                <a16:creationId xmlns:a16="http://schemas.microsoft.com/office/drawing/2014/main" id="{DD8C6504-52B1-4836-AA8A-EC9BC0CD37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C0106633-57E4-410A-9FF9-DF641EA5FD1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67732" y="1"/>
            <a:ext cx="885600" cy="1138181"/>
            <a:chOff x="608663" y="3130115"/>
            <a:chExt cx="1033869" cy="132873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9983560-176F-4473-BCBD-49A414B33B18}"/>
                </a:ext>
              </a:extLst>
            </p:cNvPr>
            <p:cNvSpPr/>
            <p:nvPr/>
          </p:nvSpPr>
          <p:spPr>
            <a:xfrm>
              <a:off x="608663" y="3130115"/>
              <a:ext cx="1033869" cy="13287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1000" sy="101000" algn="ctr" rotWithShape="0">
                <a:schemeClr val="accent4"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dirty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19" name="Graphique 81">
              <a:extLst>
                <a:ext uri="{FF2B5EF4-FFF2-40B4-BE49-F238E27FC236}">
                  <a16:creationId xmlns:a16="http://schemas.microsoft.com/office/drawing/2014/main" id="{12667E11-3EC4-40D4-9AC3-E08297339E4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9864" y="3629009"/>
              <a:ext cx="271466" cy="529187"/>
              <a:chOff x="2389465" y="1817499"/>
              <a:chExt cx="321335" cy="626400"/>
            </a:xfrm>
          </p:grpSpPr>
          <p:sp>
            <p:nvSpPr>
              <p:cNvPr id="20" name="Forme libre : forme 19">
                <a:extLst>
                  <a:ext uri="{FF2B5EF4-FFF2-40B4-BE49-F238E27FC236}">
                    <a16:creationId xmlns:a16="http://schemas.microsoft.com/office/drawing/2014/main" id="{915F81F1-8168-4B5C-BFAB-467A16367F81}"/>
                  </a:ext>
                </a:extLst>
              </p:cNvPr>
              <p:cNvSpPr/>
              <p:nvPr/>
            </p:nvSpPr>
            <p:spPr>
              <a:xfrm>
                <a:off x="2563032" y="1817499"/>
                <a:ext cx="142945" cy="208025"/>
              </a:xfrm>
              <a:custGeom>
                <a:avLst/>
                <a:gdLst>
                  <a:gd name="connsiteX0" fmla="*/ 143119 w 142944"/>
                  <a:gd name="connsiteY0" fmla="*/ 208548 h 208025"/>
                  <a:gd name="connsiteX1" fmla="*/ 0 w 142944"/>
                  <a:gd name="connsiteY1" fmla="*/ 52820 h 208025"/>
                  <a:gd name="connsiteX2" fmla="*/ 0 w 142944"/>
                  <a:gd name="connsiteY2" fmla="*/ 0 h 208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944" h="208025">
                    <a:moveTo>
                      <a:pt x="143119" y="208548"/>
                    </a:moveTo>
                    <a:cubicBezTo>
                      <a:pt x="143119" y="126558"/>
                      <a:pt x="80130" y="59444"/>
                      <a:pt x="0" y="52820"/>
                    </a:cubicBez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1" name="Forme libre : forme 20">
                <a:extLst>
                  <a:ext uri="{FF2B5EF4-FFF2-40B4-BE49-F238E27FC236}">
                    <a16:creationId xmlns:a16="http://schemas.microsoft.com/office/drawing/2014/main" id="{F86C8C31-5B98-4AD7-B349-9612F856C242}"/>
                  </a:ext>
                </a:extLst>
              </p:cNvPr>
              <p:cNvSpPr/>
              <p:nvPr/>
            </p:nvSpPr>
            <p:spPr>
              <a:xfrm>
                <a:off x="2393823" y="1817499"/>
                <a:ext cx="259741" cy="521225"/>
              </a:xfrm>
              <a:custGeom>
                <a:avLst/>
                <a:gdLst>
                  <a:gd name="connsiteX0" fmla="*/ 143119 w 259740"/>
                  <a:gd name="connsiteY0" fmla="*/ 0 h 521225"/>
                  <a:gd name="connsiteX1" fmla="*/ 143119 w 259740"/>
                  <a:gd name="connsiteY1" fmla="*/ 52820 h 521225"/>
                  <a:gd name="connsiteX2" fmla="*/ 0 w 259740"/>
                  <a:gd name="connsiteY2" fmla="*/ 208548 h 521225"/>
                  <a:gd name="connsiteX3" fmla="*/ 156135 w 259740"/>
                  <a:gd name="connsiteY3" fmla="*/ 365264 h 521225"/>
                  <a:gd name="connsiteX4" fmla="*/ 208141 w 259740"/>
                  <a:gd name="connsiteY4" fmla="*/ 417561 h 521225"/>
                  <a:gd name="connsiteX5" fmla="*/ 156135 w 259740"/>
                  <a:gd name="connsiteY5" fmla="*/ 469568 h 521225"/>
                  <a:gd name="connsiteX6" fmla="*/ 104129 w 259740"/>
                  <a:gd name="connsiteY6" fmla="*/ 417561 h 521225"/>
                  <a:gd name="connsiteX7" fmla="*/ 52181 w 259740"/>
                  <a:gd name="connsiteY7" fmla="*/ 417503 h 521225"/>
                  <a:gd name="connsiteX8" fmla="*/ 156135 w 259740"/>
                  <a:gd name="connsiteY8" fmla="*/ 521458 h 521225"/>
                  <a:gd name="connsiteX9" fmla="*/ 260090 w 259740"/>
                  <a:gd name="connsiteY9" fmla="*/ 417503 h 521225"/>
                  <a:gd name="connsiteX10" fmla="*/ 156135 w 259740"/>
                  <a:gd name="connsiteY10" fmla="*/ 313142 h 521225"/>
                  <a:gd name="connsiteX11" fmla="*/ 52181 w 259740"/>
                  <a:gd name="connsiteY11" fmla="*/ 208781 h 521225"/>
                  <a:gd name="connsiteX12" fmla="*/ 156135 w 259740"/>
                  <a:gd name="connsiteY12" fmla="*/ 104826 h 521225"/>
                  <a:gd name="connsiteX13" fmla="*/ 260090 w 259740"/>
                  <a:gd name="connsiteY13" fmla="*/ 208781 h 521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9740" h="521225">
                    <a:moveTo>
                      <a:pt x="143119" y="0"/>
                    </a:moveTo>
                    <a:lnTo>
                      <a:pt x="143119" y="52820"/>
                    </a:lnTo>
                    <a:cubicBezTo>
                      <a:pt x="62989" y="59444"/>
                      <a:pt x="0" y="126558"/>
                      <a:pt x="0" y="208548"/>
                    </a:cubicBezTo>
                    <a:cubicBezTo>
                      <a:pt x="0" y="294896"/>
                      <a:pt x="69903" y="365264"/>
                      <a:pt x="156135" y="365264"/>
                    </a:cubicBezTo>
                    <a:cubicBezTo>
                      <a:pt x="184840" y="365264"/>
                      <a:pt x="208141" y="388856"/>
                      <a:pt x="208141" y="417561"/>
                    </a:cubicBezTo>
                    <a:cubicBezTo>
                      <a:pt x="208141" y="446266"/>
                      <a:pt x="184840" y="469568"/>
                      <a:pt x="156135" y="469568"/>
                    </a:cubicBezTo>
                    <a:cubicBezTo>
                      <a:pt x="127430" y="469568"/>
                      <a:pt x="104129" y="446325"/>
                      <a:pt x="104129" y="417561"/>
                    </a:cubicBezTo>
                    <a:moveTo>
                      <a:pt x="52181" y="417503"/>
                    </a:moveTo>
                    <a:cubicBezTo>
                      <a:pt x="52181" y="474913"/>
                      <a:pt x="98725" y="521458"/>
                      <a:pt x="156135" y="521458"/>
                    </a:cubicBezTo>
                    <a:cubicBezTo>
                      <a:pt x="213545" y="521458"/>
                      <a:pt x="260090" y="474913"/>
                      <a:pt x="260090" y="417503"/>
                    </a:cubicBezTo>
                    <a:cubicBezTo>
                      <a:pt x="260090" y="360093"/>
                      <a:pt x="213545" y="313142"/>
                      <a:pt x="156135" y="313142"/>
                    </a:cubicBezTo>
                    <a:cubicBezTo>
                      <a:pt x="98725" y="313142"/>
                      <a:pt x="52181" y="266191"/>
                      <a:pt x="52181" y="208781"/>
                    </a:cubicBezTo>
                    <a:cubicBezTo>
                      <a:pt x="52181" y="151370"/>
                      <a:pt x="98725" y="104826"/>
                      <a:pt x="156135" y="104826"/>
                    </a:cubicBezTo>
                    <a:cubicBezTo>
                      <a:pt x="213545" y="104826"/>
                      <a:pt x="260090" y="151370"/>
                      <a:pt x="260090" y="208781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2" name="Forme libre : forme 21">
                <a:extLst>
                  <a:ext uri="{FF2B5EF4-FFF2-40B4-BE49-F238E27FC236}">
                    <a16:creationId xmlns:a16="http://schemas.microsoft.com/office/drawing/2014/main" id="{FB9F4A0A-D6B5-41E1-94B0-37EC14F479B5}"/>
                  </a:ext>
                </a:extLst>
              </p:cNvPr>
              <p:cNvSpPr/>
              <p:nvPr/>
            </p:nvSpPr>
            <p:spPr>
              <a:xfrm>
                <a:off x="2393823" y="1974273"/>
                <a:ext cx="312038" cy="469509"/>
              </a:xfrm>
              <a:custGeom>
                <a:avLst/>
                <a:gdLst>
                  <a:gd name="connsiteX0" fmla="*/ 0 w 312037"/>
                  <a:gd name="connsiteY0" fmla="*/ 261019 h 469509"/>
                  <a:gd name="connsiteX1" fmla="*/ 143119 w 312037"/>
                  <a:gd name="connsiteY1" fmla="*/ 416748 h 469509"/>
                  <a:gd name="connsiteX2" fmla="*/ 143119 w 312037"/>
                  <a:gd name="connsiteY2" fmla="*/ 469568 h 469509"/>
                  <a:gd name="connsiteX3" fmla="*/ 169151 w 312037"/>
                  <a:gd name="connsiteY3" fmla="*/ 469510 h 469509"/>
                  <a:gd name="connsiteX4" fmla="*/ 169151 w 312037"/>
                  <a:gd name="connsiteY4" fmla="*/ 416748 h 469509"/>
                  <a:gd name="connsiteX5" fmla="*/ 312328 w 312037"/>
                  <a:gd name="connsiteY5" fmla="*/ 261019 h 469509"/>
                  <a:gd name="connsiteX6" fmla="*/ 156193 w 312037"/>
                  <a:gd name="connsiteY6" fmla="*/ 104303 h 469509"/>
                  <a:gd name="connsiteX7" fmla="*/ 104187 w 312037"/>
                  <a:gd name="connsiteY7" fmla="*/ 52006 h 469509"/>
                  <a:gd name="connsiteX8" fmla="*/ 156193 w 312037"/>
                  <a:gd name="connsiteY8" fmla="*/ 0 h 469509"/>
                  <a:gd name="connsiteX9" fmla="*/ 208200 w 312037"/>
                  <a:gd name="connsiteY9" fmla="*/ 52006 h 469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2037" h="469509">
                    <a:moveTo>
                      <a:pt x="0" y="261019"/>
                    </a:moveTo>
                    <a:cubicBezTo>
                      <a:pt x="0" y="343009"/>
                      <a:pt x="62989" y="410123"/>
                      <a:pt x="143119" y="416748"/>
                    </a:cubicBezTo>
                    <a:lnTo>
                      <a:pt x="143119" y="469568"/>
                    </a:lnTo>
                    <a:moveTo>
                      <a:pt x="169151" y="469510"/>
                    </a:moveTo>
                    <a:lnTo>
                      <a:pt x="169151" y="416748"/>
                    </a:lnTo>
                    <a:cubicBezTo>
                      <a:pt x="249282" y="410065"/>
                      <a:pt x="312328" y="342951"/>
                      <a:pt x="312328" y="261019"/>
                    </a:cubicBezTo>
                    <a:cubicBezTo>
                      <a:pt x="312328" y="174613"/>
                      <a:pt x="242425" y="104303"/>
                      <a:pt x="156193" y="104303"/>
                    </a:cubicBezTo>
                    <a:cubicBezTo>
                      <a:pt x="127488" y="104303"/>
                      <a:pt x="104187" y="80711"/>
                      <a:pt x="104187" y="52006"/>
                    </a:cubicBezTo>
                    <a:cubicBezTo>
                      <a:pt x="104187" y="23301"/>
                      <a:pt x="127488" y="0"/>
                      <a:pt x="156193" y="0"/>
                    </a:cubicBezTo>
                    <a:cubicBezTo>
                      <a:pt x="184898" y="0"/>
                      <a:pt x="208200" y="23301"/>
                      <a:pt x="208200" y="52006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08590757-48CC-434B-99C5-234DBC577D9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3792A393-8DB5-4191-9318-BFEAE9E65F8D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A044E0A-7955-4F28-A04A-2D5796A0EDA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7E4ECFB8-2710-4C6F-9F14-A0FFCEB04BD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4" name="Group 6">
            <a:extLst>
              <a:ext uri="{FF2B5EF4-FFF2-40B4-BE49-F238E27FC236}">
                <a16:creationId xmlns:a16="http://schemas.microsoft.com/office/drawing/2014/main" id="{CBFE6BEC-C1F0-410C-A391-9BF1CC4EA404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E9C768C5-0835-4EAE-82CF-7B5F6D75005F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470B7C3E-C2E1-4FC5-A48D-3760A9AB075A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E0FA0396-22C4-4C4C-9DCD-F03CCEDEA82A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0001EF18-5A8D-49AB-99BE-793A7103910D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DF4BB940-58C3-4526-9E71-B671A21B5030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73643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 - Insert image">
    <p:bg>
      <p:bgPr>
        <a:gradFill>
          <a:gsLst>
            <a:gs pos="0">
              <a:srgbClr val="430099"/>
            </a:gs>
            <a:gs pos="75000">
              <a:schemeClr val="tx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5709" y="1189821"/>
            <a:ext cx="4319999" cy="2650659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3600">
                <a:solidFill>
                  <a:schemeClr val="bg1"/>
                </a:solidFill>
                <a:effectLst/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IDEMIA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5707" y="4102388"/>
            <a:ext cx="4320000" cy="1440000"/>
          </a:xfrm>
          <a:noFill/>
          <a:effectLst/>
        </p:spPr>
        <p:txBody>
          <a:bodyPr vert="horz" lIns="0" tIns="0" rIns="0" bIns="0" rtlCol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US" sz="2000" b="0" i="0" dirty="0">
                <a:solidFill>
                  <a:schemeClr val="bg1"/>
                </a:solidFill>
              </a:defRPr>
            </a:lvl1pPr>
          </a:lstStyle>
          <a:p>
            <a:pPr marL="146300" lvl="0" indent="-146300">
              <a:spcBef>
                <a:spcPts val="0"/>
              </a:spcBef>
              <a:spcAft>
                <a:spcPts val="800"/>
              </a:spcAft>
            </a:pPr>
            <a:r>
              <a:rPr lang="en-US" dirty="0"/>
              <a:t>Insert subtitle here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35708" y="6375123"/>
            <a:ext cx="2328672" cy="20512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l">
              <a:defRPr lang="en-US" sz="1333" b="0" smtClean="0">
                <a:solidFill>
                  <a:schemeClr val="bg1"/>
                </a:solidFill>
                <a:latin typeface="Arial"/>
              </a:defRPr>
            </a:lvl1pPr>
          </a:lstStyle>
          <a:p>
            <a:fld id="{90047C0C-A87A-4DD2-A9A2-25770FB51AF8}" type="datetime1">
              <a:rPr lang="en-US" smtClean="0"/>
              <a:t>2/17/2023</a:t>
            </a:fld>
            <a:endParaRPr lang="en-US" dirty="0"/>
          </a:p>
        </p:txBody>
      </p:sp>
      <p:grpSp>
        <p:nvGrpSpPr>
          <p:cNvPr id="131" name="Group 6">
            <a:extLst>
              <a:ext uri="{FF2B5EF4-FFF2-40B4-BE49-F238E27FC236}">
                <a16:creationId xmlns:a16="http://schemas.microsoft.com/office/drawing/2014/main" id="{2F2C2701-CCA7-4290-81A8-F02B34EFCE7C}"/>
              </a:ext>
            </a:extLst>
          </p:cNvPr>
          <p:cNvGrpSpPr/>
          <p:nvPr/>
        </p:nvGrpSpPr>
        <p:grpSpPr bwMode="black">
          <a:xfrm>
            <a:off x="635708" y="622301"/>
            <a:ext cx="911669" cy="230212"/>
            <a:chOff x="447675" y="4187826"/>
            <a:chExt cx="2049463" cy="517525"/>
          </a:xfrm>
          <a:solidFill>
            <a:schemeClr val="bg1"/>
          </a:solidFill>
        </p:grpSpPr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CC2EE4D3-0CE7-4A96-B4BE-7F5CD5FA3ACB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 6">
              <a:extLst>
                <a:ext uri="{FF2B5EF4-FFF2-40B4-BE49-F238E27FC236}">
                  <a16:creationId xmlns:a16="http://schemas.microsoft.com/office/drawing/2014/main" id="{8A1F9E01-43DB-4F91-AF8C-6E73E0130DE4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 7">
              <a:extLst>
                <a:ext uri="{FF2B5EF4-FFF2-40B4-BE49-F238E27FC236}">
                  <a16:creationId xmlns:a16="http://schemas.microsoft.com/office/drawing/2014/main" id="{FA04AF4E-0CEF-4BBE-95C3-3D2C8577AA9C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Freeform 8">
              <a:extLst>
                <a:ext uri="{FF2B5EF4-FFF2-40B4-BE49-F238E27FC236}">
                  <a16:creationId xmlns:a16="http://schemas.microsoft.com/office/drawing/2014/main" id="{7919488A-9DB6-48AC-A14D-E639BE5F6A9D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 9">
              <a:extLst>
                <a:ext uri="{FF2B5EF4-FFF2-40B4-BE49-F238E27FC236}">
                  <a16:creationId xmlns:a16="http://schemas.microsoft.com/office/drawing/2014/main" id="{4710171C-5150-4A9D-8099-BF9696999E0F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" name="Espace réservé pour une image  15">
            <a:extLst>
              <a:ext uri="{FF2B5EF4-FFF2-40B4-BE49-F238E27FC236}">
                <a16:creationId xmlns:a16="http://schemas.microsoft.com/office/drawing/2014/main" id="{DD3453EC-822F-49A2-A9E7-6DCEF07EAFD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103788" y="0"/>
            <a:ext cx="7088212" cy="6858000"/>
          </a:xfrm>
          <a:custGeom>
            <a:avLst/>
            <a:gdLst>
              <a:gd name="connsiteX0" fmla="*/ 7088212 w 7088212"/>
              <a:gd name="connsiteY0" fmla="*/ 2316551 h 6858000"/>
              <a:gd name="connsiteX1" fmla="*/ 7088212 w 7088212"/>
              <a:gd name="connsiteY1" fmla="*/ 3270182 h 6858000"/>
              <a:gd name="connsiteX2" fmla="*/ 7088212 w 7088212"/>
              <a:gd name="connsiteY2" fmla="*/ 3597980 h 6858000"/>
              <a:gd name="connsiteX3" fmla="*/ 7088212 w 7088212"/>
              <a:gd name="connsiteY3" fmla="*/ 4546633 h 6858000"/>
              <a:gd name="connsiteX4" fmla="*/ 6546184 w 7088212"/>
              <a:gd name="connsiteY4" fmla="*/ 3434544 h 6858000"/>
              <a:gd name="connsiteX5" fmla="*/ 7088212 w 7088212"/>
              <a:gd name="connsiteY5" fmla="*/ 1297052 h 6858000"/>
              <a:gd name="connsiteX6" fmla="*/ 7088212 w 7088212"/>
              <a:gd name="connsiteY6" fmla="*/ 2251081 h 6858000"/>
              <a:gd name="connsiteX7" fmla="*/ 6514644 w 7088212"/>
              <a:gd name="connsiteY7" fmla="*/ 3434545 h 6858000"/>
              <a:gd name="connsiteX8" fmla="*/ 7088212 w 7088212"/>
              <a:gd name="connsiteY8" fmla="*/ 4611344 h 6858000"/>
              <a:gd name="connsiteX9" fmla="*/ 7088212 w 7088212"/>
              <a:gd name="connsiteY9" fmla="*/ 5559997 h 6858000"/>
              <a:gd name="connsiteX10" fmla="*/ 6052274 w 7088212"/>
              <a:gd name="connsiteY10" fmla="*/ 3434545 h 6858000"/>
              <a:gd name="connsiteX11" fmla="*/ 7088212 w 7088212"/>
              <a:gd name="connsiteY11" fmla="*/ 286451 h 6858000"/>
              <a:gd name="connsiteX12" fmla="*/ 7088212 w 7088212"/>
              <a:gd name="connsiteY12" fmla="*/ 1223092 h 6858000"/>
              <a:gd name="connsiteX13" fmla="*/ 6016431 w 7088212"/>
              <a:gd name="connsiteY13" fmla="*/ 3434543 h 6858000"/>
              <a:gd name="connsiteX14" fmla="*/ 7088212 w 7088212"/>
              <a:gd name="connsiteY14" fmla="*/ 5633535 h 6858000"/>
              <a:gd name="connsiteX15" fmla="*/ 7088212 w 7088212"/>
              <a:gd name="connsiteY15" fmla="*/ 6566009 h 6858000"/>
              <a:gd name="connsiteX16" fmla="*/ 5561946 w 7088212"/>
              <a:gd name="connsiteY16" fmla="*/ 3434543 h 6858000"/>
              <a:gd name="connsiteX17" fmla="*/ 6736761 w 7088212"/>
              <a:gd name="connsiteY17" fmla="*/ 1 h 6858000"/>
              <a:gd name="connsiteX18" fmla="*/ 7088212 w 7088212"/>
              <a:gd name="connsiteY18" fmla="*/ 1 h 6858000"/>
              <a:gd name="connsiteX19" fmla="*/ 7088212 w 7088212"/>
              <a:gd name="connsiteY19" fmla="*/ 195109 h 6858000"/>
              <a:gd name="connsiteX20" fmla="*/ 5518218 w 7088212"/>
              <a:gd name="connsiteY20" fmla="*/ 3434542 h 6858000"/>
              <a:gd name="connsiteX21" fmla="*/ 7088212 w 7088212"/>
              <a:gd name="connsiteY21" fmla="*/ 6655729 h 6858000"/>
              <a:gd name="connsiteX22" fmla="*/ 7088212 w 7088212"/>
              <a:gd name="connsiteY22" fmla="*/ 6858000 h 6858000"/>
              <a:gd name="connsiteX23" fmla="*/ 6740201 w 7088212"/>
              <a:gd name="connsiteY23" fmla="*/ 6858000 h 6858000"/>
              <a:gd name="connsiteX24" fmla="*/ 5071618 w 7088212"/>
              <a:gd name="connsiteY24" fmla="*/ 3434542 h 6858000"/>
              <a:gd name="connsiteX25" fmla="*/ 6238549 w 7088212"/>
              <a:gd name="connsiteY25" fmla="*/ 1 h 6858000"/>
              <a:gd name="connsiteX26" fmla="*/ 6692444 w 7088212"/>
              <a:gd name="connsiteY26" fmla="*/ 1 h 6858000"/>
              <a:gd name="connsiteX27" fmla="*/ 5027891 w 7088212"/>
              <a:gd name="connsiteY27" fmla="*/ 3434542 h 6858000"/>
              <a:gd name="connsiteX28" fmla="*/ 6696474 w 7088212"/>
              <a:gd name="connsiteY28" fmla="*/ 6858000 h 6858000"/>
              <a:gd name="connsiteX29" fmla="*/ 6241989 w 7088212"/>
              <a:gd name="connsiteY29" fmla="*/ 6858000 h 6858000"/>
              <a:gd name="connsiteX30" fmla="*/ 4573406 w 7088212"/>
              <a:gd name="connsiteY30" fmla="*/ 3434542 h 6858000"/>
              <a:gd name="connsiteX31" fmla="*/ 5748221 w 7088212"/>
              <a:gd name="connsiteY31" fmla="*/ 1 h 6858000"/>
              <a:gd name="connsiteX32" fmla="*/ 6194231 w 7088212"/>
              <a:gd name="connsiteY32" fmla="*/ 1 h 6858000"/>
              <a:gd name="connsiteX33" fmla="*/ 4529678 w 7088212"/>
              <a:gd name="connsiteY33" fmla="*/ 3434542 h 6858000"/>
              <a:gd name="connsiteX34" fmla="*/ 6198261 w 7088212"/>
              <a:gd name="connsiteY34" fmla="*/ 6858000 h 6858000"/>
              <a:gd name="connsiteX35" fmla="*/ 5751661 w 7088212"/>
              <a:gd name="connsiteY35" fmla="*/ 6858000 h 6858000"/>
              <a:gd name="connsiteX36" fmla="*/ 4083078 w 7088212"/>
              <a:gd name="connsiteY36" fmla="*/ 3434542 h 6858000"/>
              <a:gd name="connsiteX37" fmla="*/ 5257893 w 7088212"/>
              <a:gd name="connsiteY37" fmla="*/ 1 h 6858000"/>
              <a:gd name="connsiteX38" fmla="*/ 5696019 w 7088212"/>
              <a:gd name="connsiteY38" fmla="*/ 1 h 6858000"/>
              <a:gd name="connsiteX39" fmla="*/ 4031465 w 7088212"/>
              <a:gd name="connsiteY39" fmla="*/ 3434542 h 6858000"/>
              <a:gd name="connsiteX40" fmla="*/ 5700048 w 7088212"/>
              <a:gd name="connsiteY40" fmla="*/ 6858000 h 6858000"/>
              <a:gd name="connsiteX41" fmla="*/ 5261334 w 7088212"/>
              <a:gd name="connsiteY41" fmla="*/ 6858000 h 6858000"/>
              <a:gd name="connsiteX42" fmla="*/ 3592751 w 7088212"/>
              <a:gd name="connsiteY42" fmla="*/ 3434542 h 6858000"/>
              <a:gd name="connsiteX43" fmla="*/ 4787634 w 7088212"/>
              <a:gd name="connsiteY43" fmla="*/ 1 h 6858000"/>
              <a:gd name="connsiteX44" fmla="*/ 5178319 w 7088212"/>
              <a:gd name="connsiteY44" fmla="*/ 1 h 6858000"/>
              <a:gd name="connsiteX45" fmla="*/ 3513176 w 7088212"/>
              <a:gd name="connsiteY45" fmla="*/ 3434542 h 6858000"/>
              <a:gd name="connsiteX46" fmla="*/ 5182449 w 7088212"/>
              <a:gd name="connsiteY46" fmla="*/ 6858000 h 6858000"/>
              <a:gd name="connsiteX47" fmla="*/ 4791074 w 7088212"/>
              <a:gd name="connsiteY47" fmla="*/ 6858000 h 6858000"/>
              <a:gd name="connsiteX48" fmla="*/ 3122491 w 7088212"/>
              <a:gd name="connsiteY48" fmla="*/ 3434542 h 6858000"/>
              <a:gd name="connsiteX49" fmla="*/ 4309493 w 7088212"/>
              <a:gd name="connsiteY49" fmla="*/ 1 h 6858000"/>
              <a:gd name="connsiteX50" fmla="*/ 4668049 w 7088212"/>
              <a:gd name="connsiteY50" fmla="*/ 1 h 6858000"/>
              <a:gd name="connsiteX51" fmla="*/ 3003495 w 7088212"/>
              <a:gd name="connsiteY51" fmla="*/ 3434542 h 6858000"/>
              <a:gd name="connsiteX52" fmla="*/ 4672078 w 7088212"/>
              <a:gd name="connsiteY52" fmla="*/ 6858000 h 6858000"/>
              <a:gd name="connsiteX53" fmla="*/ 4312934 w 7088212"/>
              <a:gd name="connsiteY53" fmla="*/ 6858000 h 6858000"/>
              <a:gd name="connsiteX54" fmla="*/ 2644351 w 7088212"/>
              <a:gd name="connsiteY54" fmla="*/ 3434542 h 6858000"/>
              <a:gd name="connsiteX55" fmla="*/ 3827179 w 7088212"/>
              <a:gd name="connsiteY55" fmla="*/ 1 h 6858000"/>
              <a:gd name="connsiteX56" fmla="*/ 4161821 w 7088212"/>
              <a:gd name="connsiteY56" fmla="*/ 1 h 6858000"/>
              <a:gd name="connsiteX57" fmla="*/ 2496679 w 7088212"/>
              <a:gd name="connsiteY57" fmla="*/ 3434542 h 6858000"/>
              <a:gd name="connsiteX58" fmla="*/ 4165951 w 7088212"/>
              <a:gd name="connsiteY58" fmla="*/ 6858000 h 6858000"/>
              <a:gd name="connsiteX59" fmla="*/ 3831208 w 7088212"/>
              <a:gd name="connsiteY59" fmla="*/ 6858000 h 6858000"/>
              <a:gd name="connsiteX60" fmla="*/ 2162625 w 7088212"/>
              <a:gd name="connsiteY60" fmla="*/ 3434542 h 6858000"/>
              <a:gd name="connsiteX61" fmla="*/ 3396278 w 7088212"/>
              <a:gd name="connsiteY61" fmla="*/ 1 h 6858000"/>
              <a:gd name="connsiteX62" fmla="*/ 3658775 w 7088212"/>
              <a:gd name="connsiteY62" fmla="*/ 1 h 6858000"/>
              <a:gd name="connsiteX63" fmla="*/ 1994222 w 7088212"/>
              <a:gd name="connsiteY63" fmla="*/ 3434542 h 6858000"/>
              <a:gd name="connsiteX64" fmla="*/ 3662804 w 7088212"/>
              <a:gd name="connsiteY64" fmla="*/ 6858000 h 6858000"/>
              <a:gd name="connsiteX65" fmla="*/ 3399719 w 7088212"/>
              <a:gd name="connsiteY65" fmla="*/ 6858000 h 6858000"/>
              <a:gd name="connsiteX66" fmla="*/ 1731136 w 7088212"/>
              <a:gd name="connsiteY66" fmla="*/ 3434542 h 6858000"/>
              <a:gd name="connsiteX67" fmla="*/ 2965904 w 7088212"/>
              <a:gd name="connsiteY67" fmla="*/ 0 h 6858000"/>
              <a:gd name="connsiteX68" fmla="*/ 3196732 w 7088212"/>
              <a:gd name="connsiteY68" fmla="*/ 0 h 6858000"/>
              <a:gd name="connsiteX69" fmla="*/ 1531590 w 7088212"/>
              <a:gd name="connsiteY69" fmla="*/ 3434542 h 6858000"/>
              <a:gd name="connsiteX70" fmla="*/ 3200863 w 7088212"/>
              <a:gd name="connsiteY70" fmla="*/ 6858000 h 6858000"/>
              <a:gd name="connsiteX71" fmla="*/ 2969345 w 7088212"/>
              <a:gd name="connsiteY71" fmla="*/ 6858000 h 6858000"/>
              <a:gd name="connsiteX72" fmla="*/ 1300762 w 7088212"/>
              <a:gd name="connsiteY72" fmla="*/ 3434542 h 6858000"/>
              <a:gd name="connsiteX73" fmla="*/ 2506592 w 7088212"/>
              <a:gd name="connsiteY73" fmla="*/ 0 h 6858000"/>
              <a:gd name="connsiteX74" fmla="*/ 2690136 w 7088212"/>
              <a:gd name="connsiteY74" fmla="*/ 0 h 6858000"/>
              <a:gd name="connsiteX75" fmla="*/ 1025582 w 7088212"/>
              <a:gd name="connsiteY75" fmla="*/ 3434542 h 6858000"/>
              <a:gd name="connsiteX76" fmla="*/ 2694165 w 7088212"/>
              <a:gd name="connsiteY76" fmla="*/ 6858000 h 6858000"/>
              <a:gd name="connsiteX77" fmla="*/ 2510651 w 7088212"/>
              <a:gd name="connsiteY77" fmla="*/ 6858000 h 6858000"/>
              <a:gd name="connsiteX78" fmla="*/ 842068 w 7088212"/>
              <a:gd name="connsiteY78" fmla="*/ 3434542 h 6858000"/>
              <a:gd name="connsiteX79" fmla="*/ 859272 w 7088212"/>
              <a:gd name="connsiteY79" fmla="*/ 3398698 h 6858000"/>
              <a:gd name="connsiteX80" fmla="*/ 2066862 w 7088212"/>
              <a:gd name="connsiteY80" fmla="*/ 0 h 6858000"/>
              <a:gd name="connsiteX81" fmla="*/ 2178634 w 7088212"/>
              <a:gd name="connsiteY81" fmla="*/ 0 h 6858000"/>
              <a:gd name="connsiteX82" fmla="*/ 513490 w 7088212"/>
              <a:gd name="connsiteY82" fmla="*/ 3434542 h 6858000"/>
              <a:gd name="connsiteX83" fmla="*/ 2182763 w 7088212"/>
              <a:gd name="connsiteY83" fmla="*/ 6858000 h 6858000"/>
              <a:gd name="connsiteX84" fmla="*/ 2070961 w 7088212"/>
              <a:gd name="connsiteY84" fmla="*/ 6858000 h 6858000"/>
              <a:gd name="connsiteX85" fmla="*/ 402378 w 7088212"/>
              <a:gd name="connsiteY85" fmla="*/ 3434542 h 6858000"/>
              <a:gd name="connsiteX86" fmla="*/ 412414 w 7088212"/>
              <a:gd name="connsiteY86" fmla="*/ 3413036 h 6858000"/>
              <a:gd name="connsiteX87" fmla="*/ 1664655 w 7088212"/>
              <a:gd name="connsiteY87" fmla="*/ 0 h 6858000"/>
              <a:gd name="connsiteX88" fmla="*/ 1736238 w 7088212"/>
              <a:gd name="connsiteY88" fmla="*/ 0 h 6858000"/>
              <a:gd name="connsiteX89" fmla="*/ 71684 w 7088212"/>
              <a:gd name="connsiteY89" fmla="*/ 3434542 h 6858000"/>
              <a:gd name="connsiteX90" fmla="*/ 1740267 w 7088212"/>
              <a:gd name="connsiteY90" fmla="*/ 6858000 h 6858000"/>
              <a:gd name="connsiteX91" fmla="*/ 1668582 w 7088212"/>
              <a:gd name="connsiteY91" fmla="*/ 6858000 h 6858000"/>
              <a:gd name="connsiteX92" fmla="*/ 0 w 7088212"/>
              <a:gd name="connsiteY92" fmla="*/ 3434545 h 6858000"/>
              <a:gd name="connsiteX93" fmla="*/ 0 w 7088212"/>
              <a:gd name="connsiteY93" fmla="*/ 3434539 h 6858000"/>
              <a:gd name="connsiteX94" fmla="*/ 7167 w 7088212"/>
              <a:gd name="connsiteY94" fmla="*/ 34209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7088212" h="6858000">
                <a:moveTo>
                  <a:pt x="7088212" y="2316551"/>
                </a:moveTo>
                <a:lnTo>
                  <a:pt x="7088212" y="3270182"/>
                </a:lnTo>
                <a:lnTo>
                  <a:pt x="7088212" y="3597980"/>
                </a:lnTo>
                <a:lnTo>
                  <a:pt x="7088212" y="4546633"/>
                </a:lnTo>
                <a:lnTo>
                  <a:pt x="6546184" y="3434544"/>
                </a:lnTo>
                <a:close/>
                <a:moveTo>
                  <a:pt x="7088212" y="1297052"/>
                </a:moveTo>
                <a:lnTo>
                  <a:pt x="7088212" y="2251081"/>
                </a:lnTo>
                <a:lnTo>
                  <a:pt x="6514644" y="3434545"/>
                </a:lnTo>
                <a:lnTo>
                  <a:pt x="7088212" y="4611344"/>
                </a:lnTo>
                <a:lnTo>
                  <a:pt x="7088212" y="5559997"/>
                </a:lnTo>
                <a:lnTo>
                  <a:pt x="6052274" y="3434545"/>
                </a:lnTo>
                <a:close/>
                <a:moveTo>
                  <a:pt x="7088212" y="286451"/>
                </a:moveTo>
                <a:lnTo>
                  <a:pt x="7088212" y="1223092"/>
                </a:lnTo>
                <a:lnTo>
                  <a:pt x="6016431" y="3434543"/>
                </a:lnTo>
                <a:lnTo>
                  <a:pt x="7088212" y="5633535"/>
                </a:lnTo>
                <a:lnTo>
                  <a:pt x="7088212" y="6566009"/>
                </a:lnTo>
                <a:lnTo>
                  <a:pt x="5561946" y="3434543"/>
                </a:lnTo>
                <a:close/>
                <a:moveTo>
                  <a:pt x="6736761" y="1"/>
                </a:moveTo>
                <a:lnTo>
                  <a:pt x="7088212" y="1"/>
                </a:lnTo>
                <a:lnTo>
                  <a:pt x="7088212" y="195109"/>
                </a:lnTo>
                <a:lnTo>
                  <a:pt x="5518218" y="3434542"/>
                </a:lnTo>
                <a:lnTo>
                  <a:pt x="7088212" y="6655729"/>
                </a:lnTo>
                <a:lnTo>
                  <a:pt x="7088212" y="6858000"/>
                </a:lnTo>
                <a:lnTo>
                  <a:pt x="6740201" y="6858000"/>
                </a:lnTo>
                <a:lnTo>
                  <a:pt x="5071618" y="3434542"/>
                </a:lnTo>
                <a:close/>
                <a:moveTo>
                  <a:pt x="6238549" y="1"/>
                </a:moveTo>
                <a:lnTo>
                  <a:pt x="6692444" y="1"/>
                </a:lnTo>
                <a:lnTo>
                  <a:pt x="5027891" y="3434542"/>
                </a:lnTo>
                <a:lnTo>
                  <a:pt x="6696474" y="6858000"/>
                </a:lnTo>
                <a:lnTo>
                  <a:pt x="6241989" y="6858000"/>
                </a:lnTo>
                <a:lnTo>
                  <a:pt x="4573406" y="3434542"/>
                </a:lnTo>
                <a:close/>
                <a:moveTo>
                  <a:pt x="5748221" y="1"/>
                </a:moveTo>
                <a:lnTo>
                  <a:pt x="6194231" y="1"/>
                </a:lnTo>
                <a:lnTo>
                  <a:pt x="4529678" y="3434542"/>
                </a:lnTo>
                <a:lnTo>
                  <a:pt x="6198261" y="6858000"/>
                </a:lnTo>
                <a:lnTo>
                  <a:pt x="5751661" y="6858000"/>
                </a:lnTo>
                <a:lnTo>
                  <a:pt x="4083078" y="3434542"/>
                </a:lnTo>
                <a:close/>
                <a:moveTo>
                  <a:pt x="5257893" y="1"/>
                </a:moveTo>
                <a:lnTo>
                  <a:pt x="5696019" y="1"/>
                </a:lnTo>
                <a:lnTo>
                  <a:pt x="4031465" y="3434542"/>
                </a:lnTo>
                <a:lnTo>
                  <a:pt x="5700048" y="6858000"/>
                </a:lnTo>
                <a:lnTo>
                  <a:pt x="5261334" y="6858000"/>
                </a:lnTo>
                <a:lnTo>
                  <a:pt x="3592751" y="3434542"/>
                </a:lnTo>
                <a:close/>
                <a:moveTo>
                  <a:pt x="4787634" y="1"/>
                </a:moveTo>
                <a:lnTo>
                  <a:pt x="5178319" y="1"/>
                </a:lnTo>
                <a:lnTo>
                  <a:pt x="3513176" y="3434542"/>
                </a:lnTo>
                <a:lnTo>
                  <a:pt x="5182449" y="6858000"/>
                </a:lnTo>
                <a:lnTo>
                  <a:pt x="4791074" y="6858000"/>
                </a:lnTo>
                <a:lnTo>
                  <a:pt x="3122491" y="3434542"/>
                </a:lnTo>
                <a:close/>
                <a:moveTo>
                  <a:pt x="4309493" y="1"/>
                </a:moveTo>
                <a:lnTo>
                  <a:pt x="4668049" y="1"/>
                </a:lnTo>
                <a:lnTo>
                  <a:pt x="3003495" y="3434542"/>
                </a:lnTo>
                <a:lnTo>
                  <a:pt x="4672078" y="6858000"/>
                </a:lnTo>
                <a:lnTo>
                  <a:pt x="4312934" y="6858000"/>
                </a:lnTo>
                <a:lnTo>
                  <a:pt x="2644351" y="3434542"/>
                </a:lnTo>
                <a:close/>
                <a:moveTo>
                  <a:pt x="3827179" y="1"/>
                </a:moveTo>
                <a:lnTo>
                  <a:pt x="4161821" y="1"/>
                </a:lnTo>
                <a:lnTo>
                  <a:pt x="2496679" y="3434542"/>
                </a:lnTo>
                <a:lnTo>
                  <a:pt x="4165951" y="6858000"/>
                </a:lnTo>
                <a:lnTo>
                  <a:pt x="3831208" y="6858000"/>
                </a:lnTo>
                <a:lnTo>
                  <a:pt x="2162625" y="3434542"/>
                </a:lnTo>
                <a:close/>
                <a:moveTo>
                  <a:pt x="3396278" y="1"/>
                </a:moveTo>
                <a:lnTo>
                  <a:pt x="3658775" y="1"/>
                </a:lnTo>
                <a:lnTo>
                  <a:pt x="1994222" y="3434542"/>
                </a:lnTo>
                <a:lnTo>
                  <a:pt x="3662804" y="6858000"/>
                </a:lnTo>
                <a:lnTo>
                  <a:pt x="3399719" y="6858000"/>
                </a:lnTo>
                <a:lnTo>
                  <a:pt x="1731136" y="3434542"/>
                </a:lnTo>
                <a:close/>
                <a:moveTo>
                  <a:pt x="2965904" y="0"/>
                </a:moveTo>
                <a:lnTo>
                  <a:pt x="3196732" y="0"/>
                </a:lnTo>
                <a:lnTo>
                  <a:pt x="1531590" y="3434542"/>
                </a:lnTo>
                <a:lnTo>
                  <a:pt x="3200863" y="6858000"/>
                </a:lnTo>
                <a:lnTo>
                  <a:pt x="2969345" y="6858000"/>
                </a:lnTo>
                <a:lnTo>
                  <a:pt x="1300762" y="3434542"/>
                </a:lnTo>
                <a:close/>
                <a:moveTo>
                  <a:pt x="2506592" y="0"/>
                </a:moveTo>
                <a:lnTo>
                  <a:pt x="2690136" y="0"/>
                </a:lnTo>
                <a:lnTo>
                  <a:pt x="1025582" y="3434542"/>
                </a:lnTo>
                <a:lnTo>
                  <a:pt x="2694165" y="6858000"/>
                </a:lnTo>
                <a:lnTo>
                  <a:pt x="2510651" y="6858000"/>
                </a:lnTo>
                <a:lnTo>
                  <a:pt x="842068" y="3434542"/>
                </a:lnTo>
                <a:lnTo>
                  <a:pt x="859272" y="3398698"/>
                </a:lnTo>
                <a:close/>
                <a:moveTo>
                  <a:pt x="2066862" y="0"/>
                </a:moveTo>
                <a:lnTo>
                  <a:pt x="2178634" y="0"/>
                </a:lnTo>
                <a:lnTo>
                  <a:pt x="513490" y="3434542"/>
                </a:lnTo>
                <a:lnTo>
                  <a:pt x="2182763" y="6858000"/>
                </a:lnTo>
                <a:lnTo>
                  <a:pt x="2070961" y="6858000"/>
                </a:lnTo>
                <a:lnTo>
                  <a:pt x="402378" y="3434542"/>
                </a:lnTo>
                <a:lnTo>
                  <a:pt x="412414" y="3413036"/>
                </a:lnTo>
                <a:close/>
                <a:moveTo>
                  <a:pt x="1664655" y="0"/>
                </a:moveTo>
                <a:lnTo>
                  <a:pt x="1736238" y="0"/>
                </a:lnTo>
                <a:lnTo>
                  <a:pt x="71684" y="3434542"/>
                </a:lnTo>
                <a:lnTo>
                  <a:pt x="1740267" y="6858000"/>
                </a:lnTo>
                <a:lnTo>
                  <a:pt x="1668582" y="6858000"/>
                </a:lnTo>
                <a:lnTo>
                  <a:pt x="0" y="3434545"/>
                </a:lnTo>
                <a:lnTo>
                  <a:pt x="0" y="3434539"/>
                </a:lnTo>
                <a:lnTo>
                  <a:pt x="7167" y="3420921"/>
                </a:lnTo>
                <a:close/>
              </a:path>
            </a:pathLst>
          </a:custGeom>
          <a:solidFill>
            <a:schemeClr val="tx2"/>
          </a:solidFill>
          <a:effectLst/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>
                <a:solidFill>
                  <a:schemeClr val="bg1"/>
                </a:solidFill>
              </a:defRPr>
            </a:lvl1pPr>
          </a:lstStyle>
          <a:p>
            <a:pPr marL="146300" lvl="0" indent="-146300" algn="ctr"/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3669878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6.25E-7 4.44444E-6 L 6.25E-7 0.05162 " pathEditMode="relative" rAng="0" ptsTypes="AA">
                                      <p:cBhvr>
                                        <p:cTn id="12" dur="750" spd="-100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69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1" build="p">
        <p:tmplLst>
          <p:tmpl lvl="1"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6.25E-7 4.44444E-6 L 6.25E-7 0.05162 " pathEditMode="relative" rAng="0" ptsTypes="AA">
                      <p:cBhvr>
                        <p:cTn dur="750" spd="-100000" fill="hold"/>
                        <p:tgtEl>
                          <p:spTgt spid="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2569"/>
                    </p:animMotion>
                  </p:childTnLst>
                </p:cTn>
              </p:par>
            </p:tnLst>
          </p:tmpl>
        </p:tmplLst>
      </p:bldP>
      <p:bldP spid="4" grpId="0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1">
    <p:bg>
      <p:bgPr>
        <a:gradFill>
          <a:gsLst>
            <a:gs pos="0">
              <a:srgbClr val="430099"/>
            </a:gs>
            <a:gs pos="75000">
              <a:schemeClr val="tx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66BC4245-BA03-49A0-8F2A-4197AD36B856}"/>
              </a:ext>
            </a:extLst>
          </p:cNvPr>
          <p:cNvGrpSpPr/>
          <p:nvPr/>
        </p:nvGrpSpPr>
        <p:grpSpPr>
          <a:xfrm>
            <a:off x="8210465" y="4344970"/>
            <a:ext cx="2732617" cy="690033"/>
            <a:chOff x="447675" y="4187826"/>
            <a:chExt cx="2049463" cy="517525"/>
          </a:xfrm>
          <a:solidFill>
            <a:schemeClr val="bg1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AEC613C9-40A6-430C-89CB-CFA7CDA5D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98EC34D1-2096-487D-8C79-19B26B139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D27E053C-E8AF-454E-A8C4-68F1484683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918F532F-621F-4704-B781-E8229AF3B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183D7BCA-4B96-4452-BAC1-31240E14D6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/>
            </a:p>
          </p:txBody>
        </p:sp>
      </p:grpSp>
      <p:sp>
        <p:nvSpPr>
          <p:cNvPr id="100" name="Text Placeholder 3">
            <a:extLst>
              <a:ext uri="{FF2B5EF4-FFF2-40B4-BE49-F238E27FC236}">
                <a16:creationId xmlns:a16="http://schemas.microsoft.com/office/drawing/2014/main" id="{07450D3B-EC70-4364-BB30-3B2CE89BFD0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11396" y="1943763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>
                <a:solidFill>
                  <a:schemeClr val="bg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First name NAME</a:t>
            </a:r>
          </a:p>
        </p:txBody>
      </p:sp>
      <p:sp>
        <p:nvSpPr>
          <p:cNvPr id="101" name="Text Placeholder 3">
            <a:extLst>
              <a:ext uri="{FF2B5EF4-FFF2-40B4-BE49-F238E27FC236}">
                <a16:creationId xmlns:a16="http://schemas.microsoft.com/office/drawing/2014/main" id="{5F1D26DD-44E7-433E-808D-421951D360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11396" y="2163219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bg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Job Title / Service</a:t>
            </a:r>
          </a:p>
        </p:txBody>
      </p:sp>
      <p:sp>
        <p:nvSpPr>
          <p:cNvPr id="102" name="Text Placeholder 3">
            <a:extLst>
              <a:ext uri="{FF2B5EF4-FFF2-40B4-BE49-F238E27FC236}">
                <a16:creationId xmlns:a16="http://schemas.microsoft.com/office/drawing/2014/main" id="{9DB4A80A-3E62-449A-947C-1A1D6F3D02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711396" y="2394867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bg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03" name="Text Placeholder 3">
            <a:extLst>
              <a:ext uri="{FF2B5EF4-FFF2-40B4-BE49-F238E27FC236}">
                <a16:creationId xmlns:a16="http://schemas.microsoft.com/office/drawing/2014/main" id="{FE3637C7-EEAB-4DFD-B6C3-78AEF0139B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11396" y="2736243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bg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firstname.lastname@idemia.com</a:t>
            </a:r>
          </a:p>
        </p:txBody>
      </p:sp>
      <p:sp>
        <p:nvSpPr>
          <p:cNvPr id="104" name="Text Placeholder 3">
            <a:extLst>
              <a:ext uri="{FF2B5EF4-FFF2-40B4-BE49-F238E27FC236}">
                <a16:creationId xmlns:a16="http://schemas.microsoft.com/office/drawing/2014/main" id="{638896C9-6B76-4FB7-9297-9E523CE808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396" y="3065427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bg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P. +33 (0) 00 00 00 00</a:t>
            </a:r>
          </a:p>
        </p:txBody>
      </p:sp>
      <p:sp>
        <p:nvSpPr>
          <p:cNvPr id="105" name="Text Placeholder 3">
            <a:extLst>
              <a:ext uri="{FF2B5EF4-FFF2-40B4-BE49-F238E27FC236}">
                <a16:creationId xmlns:a16="http://schemas.microsoft.com/office/drawing/2014/main" id="{F7CEB460-A4BC-47D4-928D-B0C56B4D58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11396" y="3309267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bg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M. +33 (0) 00 00 00 00</a:t>
            </a: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0C5887BC-1460-4F11-9511-363049C4C8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11396" y="3553107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bg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F. +33 (0) 00 00 00 00</a:t>
            </a:r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D9F82749-5BE9-41B6-8F23-EB61FCCB3E75}"/>
              </a:ext>
            </a:extLst>
          </p:cNvPr>
          <p:cNvSpPr/>
          <p:nvPr userDrawn="1"/>
        </p:nvSpPr>
        <p:spPr>
          <a:xfrm>
            <a:off x="5347946" y="0"/>
            <a:ext cx="1740267" cy="6858000"/>
          </a:xfrm>
          <a:custGeom>
            <a:avLst/>
            <a:gdLst>
              <a:gd name="connsiteX0" fmla="*/ 4029 w 1740267"/>
              <a:gd name="connsiteY0" fmla="*/ 0 h 6858000"/>
              <a:gd name="connsiteX1" fmla="*/ 75612 w 1740267"/>
              <a:gd name="connsiteY1" fmla="*/ 0 h 6858000"/>
              <a:gd name="connsiteX2" fmla="*/ 1733100 w 1740267"/>
              <a:gd name="connsiteY2" fmla="*/ 3420921 h 6858000"/>
              <a:gd name="connsiteX3" fmla="*/ 1740267 w 1740267"/>
              <a:gd name="connsiteY3" fmla="*/ 3434539 h 6858000"/>
              <a:gd name="connsiteX4" fmla="*/ 1740267 w 1740267"/>
              <a:gd name="connsiteY4" fmla="*/ 3434545 h 6858000"/>
              <a:gd name="connsiteX5" fmla="*/ 71685 w 1740267"/>
              <a:gd name="connsiteY5" fmla="*/ 6858000 h 6858000"/>
              <a:gd name="connsiteX6" fmla="*/ 0 w 1740267"/>
              <a:gd name="connsiteY6" fmla="*/ 6858000 h 6858000"/>
              <a:gd name="connsiteX7" fmla="*/ 1668583 w 1740267"/>
              <a:gd name="connsiteY7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40267" h="6858000">
                <a:moveTo>
                  <a:pt x="4029" y="0"/>
                </a:moveTo>
                <a:lnTo>
                  <a:pt x="75612" y="0"/>
                </a:lnTo>
                <a:lnTo>
                  <a:pt x="1733100" y="3420921"/>
                </a:lnTo>
                <a:lnTo>
                  <a:pt x="1740267" y="3434539"/>
                </a:lnTo>
                <a:lnTo>
                  <a:pt x="1740267" y="3434545"/>
                </a:lnTo>
                <a:lnTo>
                  <a:pt x="71685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>
                  <a:alpha val="80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24F5C98C-B3C4-46E9-AE40-5205F3E73D31}"/>
              </a:ext>
            </a:extLst>
          </p:cNvPr>
          <p:cNvSpPr/>
          <p:nvPr userDrawn="1"/>
        </p:nvSpPr>
        <p:spPr>
          <a:xfrm>
            <a:off x="4905450" y="0"/>
            <a:ext cx="1780385" cy="6858000"/>
          </a:xfrm>
          <a:custGeom>
            <a:avLst/>
            <a:gdLst>
              <a:gd name="connsiteX0" fmla="*/ 4129 w 1780385"/>
              <a:gd name="connsiteY0" fmla="*/ 0 h 6858000"/>
              <a:gd name="connsiteX1" fmla="*/ 115901 w 1780385"/>
              <a:gd name="connsiteY1" fmla="*/ 0 h 6858000"/>
              <a:gd name="connsiteX2" fmla="*/ 1770349 w 1780385"/>
              <a:gd name="connsiteY2" fmla="*/ 3413036 h 6858000"/>
              <a:gd name="connsiteX3" fmla="*/ 1780385 w 1780385"/>
              <a:gd name="connsiteY3" fmla="*/ 3434542 h 6858000"/>
              <a:gd name="connsiteX4" fmla="*/ 111802 w 1780385"/>
              <a:gd name="connsiteY4" fmla="*/ 6858000 h 6858000"/>
              <a:gd name="connsiteX5" fmla="*/ 0 w 1780385"/>
              <a:gd name="connsiteY5" fmla="*/ 6858000 h 6858000"/>
              <a:gd name="connsiteX6" fmla="*/ 1669273 w 1780385"/>
              <a:gd name="connsiteY6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0385" h="6858000">
                <a:moveTo>
                  <a:pt x="4129" y="0"/>
                </a:moveTo>
                <a:lnTo>
                  <a:pt x="115901" y="0"/>
                </a:lnTo>
                <a:lnTo>
                  <a:pt x="1770349" y="3413036"/>
                </a:lnTo>
                <a:lnTo>
                  <a:pt x="1780385" y="3434542"/>
                </a:lnTo>
                <a:lnTo>
                  <a:pt x="111802" y="6858000"/>
                </a:lnTo>
                <a:lnTo>
                  <a:pt x="0" y="6858000"/>
                </a:lnTo>
                <a:lnTo>
                  <a:pt x="166927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>
                  <a:alpha val="80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4" name="Forme libre : forme 43">
            <a:extLst>
              <a:ext uri="{FF2B5EF4-FFF2-40B4-BE49-F238E27FC236}">
                <a16:creationId xmlns:a16="http://schemas.microsoft.com/office/drawing/2014/main" id="{37D9C2CF-4933-4EF6-BA83-9C9D3D25D59D}"/>
              </a:ext>
            </a:extLst>
          </p:cNvPr>
          <p:cNvSpPr/>
          <p:nvPr userDrawn="1"/>
        </p:nvSpPr>
        <p:spPr>
          <a:xfrm>
            <a:off x="4394048" y="0"/>
            <a:ext cx="1852097" cy="6858000"/>
          </a:xfrm>
          <a:custGeom>
            <a:avLst/>
            <a:gdLst>
              <a:gd name="connsiteX0" fmla="*/ 4029 w 1852097"/>
              <a:gd name="connsiteY0" fmla="*/ 0 h 6858000"/>
              <a:gd name="connsiteX1" fmla="*/ 187573 w 1852097"/>
              <a:gd name="connsiteY1" fmla="*/ 0 h 6858000"/>
              <a:gd name="connsiteX2" fmla="*/ 1834893 w 1852097"/>
              <a:gd name="connsiteY2" fmla="*/ 3398698 h 6858000"/>
              <a:gd name="connsiteX3" fmla="*/ 1852097 w 1852097"/>
              <a:gd name="connsiteY3" fmla="*/ 3434542 h 6858000"/>
              <a:gd name="connsiteX4" fmla="*/ 183514 w 1852097"/>
              <a:gd name="connsiteY4" fmla="*/ 6858000 h 6858000"/>
              <a:gd name="connsiteX5" fmla="*/ 0 w 1852097"/>
              <a:gd name="connsiteY5" fmla="*/ 6858000 h 6858000"/>
              <a:gd name="connsiteX6" fmla="*/ 1668583 w 1852097"/>
              <a:gd name="connsiteY6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2097" h="6858000">
                <a:moveTo>
                  <a:pt x="4029" y="0"/>
                </a:moveTo>
                <a:lnTo>
                  <a:pt x="187573" y="0"/>
                </a:lnTo>
                <a:lnTo>
                  <a:pt x="1834893" y="3398698"/>
                </a:lnTo>
                <a:lnTo>
                  <a:pt x="1852097" y="3434542"/>
                </a:lnTo>
                <a:lnTo>
                  <a:pt x="183514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>
                  <a:alpha val="80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5" name="Forme libre : forme 44">
            <a:extLst>
              <a:ext uri="{FF2B5EF4-FFF2-40B4-BE49-F238E27FC236}">
                <a16:creationId xmlns:a16="http://schemas.microsoft.com/office/drawing/2014/main" id="{97F05997-2275-4EC3-9E17-E7C9363DC9AE}"/>
              </a:ext>
            </a:extLst>
          </p:cNvPr>
          <p:cNvSpPr/>
          <p:nvPr userDrawn="1"/>
        </p:nvSpPr>
        <p:spPr>
          <a:xfrm>
            <a:off x="3887350" y="0"/>
            <a:ext cx="1900101" cy="6858000"/>
          </a:xfrm>
          <a:custGeom>
            <a:avLst/>
            <a:gdLst>
              <a:gd name="connsiteX0" fmla="*/ 4131 w 1900101"/>
              <a:gd name="connsiteY0" fmla="*/ 0 h 6858000"/>
              <a:gd name="connsiteX1" fmla="*/ 234959 w 1900101"/>
              <a:gd name="connsiteY1" fmla="*/ 0 h 6858000"/>
              <a:gd name="connsiteX2" fmla="*/ 1900101 w 1900101"/>
              <a:gd name="connsiteY2" fmla="*/ 3434542 h 6858000"/>
              <a:gd name="connsiteX3" fmla="*/ 231518 w 1900101"/>
              <a:gd name="connsiteY3" fmla="*/ 6858000 h 6858000"/>
              <a:gd name="connsiteX4" fmla="*/ 0 w 1900101"/>
              <a:gd name="connsiteY4" fmla="*/ 6858000 h 6858000"/>
              <a:gd name="connsiteX5" fmla="*/ 1669273 w 1900101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00101" h="6858000">
                <a:moveTo>
                  <a:pt x="4131" y="0"/>
                </a:moveTo>
                <a:lnTo>
                  <a:pt x="234959" y="0"/>
                </a:lnTo>
                <a:lnTo>
                  <a:pt x="1900101" y="3434542"/>
                </a:lnTo>
                <a:lnTo>
                  <a:pt x="231518" y="6858000"/>
                </a:lnTo>
                <a:lnTo>
                  <a:pt x="0" y="6858000"/>
                </a:lnTo>
                <a:lnTo>
                  <a:pt x="166927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>
                  <a:alpha val="80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6" name="Forme libre : forme 45">
            <a:extLst>
              <a:ext uri="{FF2B5EF4-FFF2-40B4-BE49-F238E27FC236}">
                <a16:creationId xmlns:a16="http://schemas.microsoft.com/office/drawing/2014/main" id="{F2CC6203-E537-4BE5-81A8-171CAEC47495}"/>
              </a:ext>
            </a:extLst>
          </p:cNvPr>
          <p:cNvSpPr/>
          <p:nvPr userDrawn="1"/>
        </p:nvSpPr>
        <p:spPr>
          <a:xfrm>
            <a:off x="3425409" y="0"/>
            <a:ext cx="1931668" cy="6858000"/>
          </a:xfrm>
          <a:custGeom>
            <a:avLst/>
            <a:gdLst>
              <a:gd name="connsiteX0" fmla="*/ 4029 w 1931668"/>
              <a:gd name="connsiteY0" fmla="*/ 0 h 6858000"/>
              <a:gd name="connsiteX1" fmla="*/ 266526 w 1931668"/>
              <a:gd name="connsiteY1" fmla="*/ 0 h 6858000"/>
              <a:gd name="connsiteX2" fmla="*/ 1931668 w 1931668"/>
              <a:gd name="connsiteY2" fmla="*/ 3434542 h 6858000"/>
              <a:gd name="connsiteX3" fmla="*/ 263085 w 1931668"/>
              <a:gd name="connsiteY3" fmla="*/ 6858000 h 6858000"/>
              <a:gd name="connsiteX4" fmla="*/ 0 w 1931668"/>
              <a:gd name="connsiteY4" fmla="*/ 6858000 h 6858000"/>
              <a:gd name="connsiteX5" fmla="*/ 1668582 w 1931668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1668" h="6858000">
                <a:moveTo>
                  <a:pt x="4029" y="0"/>
                </a:moveTo>
                <a:lnTo>
                  <a:pt x="266526" y="0"/>
                </a:lnTo>
                <a:lnTo>
                  <a:pt x="1931668" y="3434542"/>
                </a:lnTo>
                <a:lnTo>
                  <a:pt x="263085" y="6858000"/>
                </a:lnTo>
                <a:lnTo>
                  <a:pt x="0" y="6858000"/>
                </a:lnTo>
                <a:lnTo>
                  <a:pt x="1668582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>
                  <a:alpha val="80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7" name="Forme libre : forme 46">
            <a:extLst>
              <a:ext uri="{FF2B5EF4-FFF2-40B4-BE49-F238E27FC236}">
                <a16:creationId xmlns:a16="http://schemas.microsoft.com/office/drawing/2014/main" id="{DBEA3C61-BCBD-4D0E-9395-4DA589488237}"/>
              </a:ext>
            </a:extLst>
          </p:cNvPr>
          <p:cNvSpPr/>
          <p:nvPr userDrawn="1"/>
        </p:nvSpPr>
        <p:spPr>
          <a:xfrm>
            <a:off x="2922262" y="0"/>
            <a:ext cx="2003326" cy="6858000"/>
          </a:xfrm>
          <a:custGeom>
            <a:avLst/>
            <a:gdLst>
              <a:gd name="connsiteX0" fmla="*/ 4130 w 2003326"/>
              <a:gd name="connsiteY0" fmla="*/ 0 h 6858000"/>
              <a:gd name="connsiteX1" fmla="*/ 338772 w 2003326"/>
              <a:gd name="connsiteY1" fmla="*/ 0 h 6858000"/>
              <a:gd name="connsiteX2" fmla="*/ 2003326 w 2003326"/>
              <a:gd name="connsiteY2" fmla="*/ 3434542 h 6858000"/>
              <a:gd name="connsiteX3" fmla="*/ 334743 w 2003326"/>
              <a:gd name="connsiteY3" fmla="*/ 6858000 h 6858000"/>
              <a:gd name="connsiteX4" fmla="*/ 0 w 2003326"/>
              <a:gd name="connsiteY4" fmla="*/ 6858000 h 6858000"/>
              <a:gd name="connsiteX5" fmla="*/ 1669272 w 2003326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03326" h="6858000">
                <a:moveTo>
                  <a:pt x="4130" y="0"/>
                </a:moveTo>
                <a:lnTo>
                  <a:pt x="338772" y="0"/>
                </a:lnTo>
                <a:lnTo>
                  <a:pt x="2003326" y="3434542"/>
                </a:lnTo>
                <a:lnTo>
                  <a:pt x="334743" y="6858000"/>
                </a:lnTo>
                <a:lnTo>
                  <a:pt x="0" y="6858000"/>
                </a:lnTo>
                <a:lnTo>
                  <a:pt x="1669272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>
                  <a:alpha val="80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8" name="Forme libre : forme 47">
            <a:extLst>
              <a:ext uri="{FF2B5EF4-FFF2-40B4-BE49-F238E27FC236}">
                <a16:creationId xmlns:a16="http://schemas.microsoft.com/office/drawing/2014/main" id="{9385E253-E69F-4218-925A-4B006F604523}"/>
              </a:ext>
            </a:extLst>
          </p:cNvPr>
          <p:cNvSpPr/>
          <p:nvPr userDrawn="1"/>
        </p:nvSpPr>
        <p:spPr>
          <a:xfrm>
            <a:off x="2416135" y="0"/>
            <a:ext cx="2027727" cy="6858000"/>
          </a:xfrm>
          <a:custGeom>
            <a:avLst/>
            <a:gdLst>
              <a:gd name="connsiteX0" fmla="*/ 4029 w 2027727"/>
              <a:gd name="connsiteY0" fmla="*/ 0 h 6858000"/>
              <a:gd name="connsiteX1" fmla="*/ 362585 w 2027727"/>
              <a:gd name="connsiteY1" fmla="*/ 0 h 6858000"/>
              <a:gd name="connsiteX2" fmla="*/ 2027727 w 2027727"/>
              <a:gd name="connsiteY2" fmla="*/ 3434542 h 6858000"/>
              <a:gd name="connsiteX3" fmla="*/ 359144 w 2027727"/>
              <a:gd name="connsiteY3" fmla="*/ 6858000 h 6858000"/>
              <a:gd name="connsiteX4" fmla="*/ 0 w 2027727"/>
              <a:gd name="connsiteY4" fmla="*/ 6858000 h 6858000"/>
              <a:gd name="connsiteX5" fmla="*/ 1668583 w 2027727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27727" h="6858000">
                <a:moveTo>
                  <a:pt x="4029" y="0"/>
                </a:moveTo>
                <a:lnTo>
                  <a:pt x="362585" y="0"/>
                </a:lnTo>
                <a:lnTo>
                  <a:pt x="2027727" y="3434542"/>
                </a:lnTo>
                <a:lnTo>
                  <a:pt x="359144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>
                  <a:alpha val="80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9" name="Forme libre : forme 48">
            <a:extLst>
              <a:ext uri="{FF2B5EF4-FFF2-40B4-BE49-F238E27FC236}">
                <a16:creationId xmlns:a16="http://schemas.microsoft.com/office/drawing/2014/main" id="{ADDE0525-7D82-4098-AC8A-2923DB85B727}"/>
              </a:ext>
            </a:extLst>
          </p:cNvPr>
          <p:cNvSpPr/>
          <p:nvPr userDrawn="1"/>
        </p:nvSpPr>
        <p:spPr>
          <a:xfrm>
            <a:off x="1905764" y="0"/>
            <a:ext cx="2059958" cy="6858000"/>
          </a:xfrm>
          <a:custGeom>
            <a:avLst/>
            <a:gdLst>
              <a:gd name="connsiteX0" fmla="*/ 4130 w 2059958"/>
              <a:gd name="connsiteY0" fmla="*/ 0 h 6858000"/>
              <a:gd name="connsiteX1" fmla="*/ 394815 w 2059958"/>
              <a:gd name="connsiteY1" fmla="*/ 0 h 6858000"/>
              <a:gd name="connsiteX2" fmla="*/ 2059958 w 2059958"/>
              <a:gd name="connsiteY2" fmla="*/ 3434542 h 6858000"/>
              <a:gd name="connsiteX3" fmla="*/ 391375 w 2059958"/>
              <a:gd name="connsiteY3" fmla="*/ 6858000 h 6858000"/>
              <a:gd name="connsiteX4" fmla="*/ 0 w 2059958"/>
              <a:gd name="connsiteY4" fmla="*/ 6858000 h 6858000"/>
              <a:gd name="connsiteX5" fmla="*/ 1669273 w 2059958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59958" h="6858000">
                <a:moveTo>
                  <a:pt x="4130" y="0"/>
                </a:moveTo>
                <a:lnTo>
                  <a:pt x="394815" y="0"/>
                </a:lnTo>
                <a:lnTo>
                  <a:pt x="2059958" y="3434542"/>
                </a:lnTo>
                <a:lnTo>
                  <a:pt x="391375" y="6858000"/>
                </a:lnTo>
                <a:lnTo>
                  <a:pt x="0" y="6858000"/>
                </a:lnTo>
                <a:lnTo>
                  <a:pt x="166927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>
                  <a:alpha val="80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0" name="Forme libre : forme 49">
            <a:extLst>
              <a:ext uri="{FF2B5EF4-FFF2-40B4-BE49-F238E27FC236}">
                <a16:creationId xmlns:a16="http://schemas.microsoft.com/office/drawing/2014/main" id="{DB39DECD-7084-4D19-B8DA-03A53A7AEFC8}"/>
              </a:ext>
            </a:extLst>
          </p:cNvPr>
          <p:cNvSpPr/>
          <p:nvPr userDrawn="1"/>
        </p:nvSpPr>
        <p:spPr>
          <a:xfrm>
            <a:off x="1388165" y="0"/>
            <a:ext cx="2107297" cy="6858000"/>
          </a:xfrm>
          <a:custGeom>
            <a:avLst/>
            <a:gdLst>
              <a:gd name="connsiteX0" fmla="*/ 4029 w 2107297"/>
              <a:gd name="connsiteY0" fmla="*/ 0 h 6858000"/>
              <a:gd name="connsiteX1" fmla="*/ 442155 w 2107297"/>
              <a:gd name="connsiteY1" fmla="*/ 0 h 6858000"/>
              <a:gd name="connsiteX2" fmla="*/ 2107297 w 2107297"/>
              <a:gd name="connsiteY2" fmla="*/ 3434542 h 6858000"/>
              <a:gd name="connsiteX3" fmla="*/ 438714 w 2107297"/>
              <a:gd name="connsiteY3" fmla="*/ 6858000 h 6858000"/>
              <a:gd name="connsiteX4" fmla="*/ 0 w 2107297"/>
              <a:gd name="connsiteY4" fmla="*/ 6858000 h 6858000"/>
              <a:gd name="connsiteX5" fmla="*/ 1668583 w 2107297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7297" h="6858000">
                <a:moveTo>
                  <a:pt x="4029" y="0"/>
                </a:moveTo>
                <a:lnTo>
                  <a:pt x="442155" y="0"/>
                </a:lnTo>
                <a:lnTo>
                  <a:pt x="2107297" y="3434542"/>
                </a:lnTo>
                <a:lnTo>
                  <a:pt x="438714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>
                  <a:alpha val="80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2" name="Forme libre : forme 51">
            <a:extLst>
              <a:ext uri="{FF2B5EF4-FFF2-40B4-BE49-F238E27FC236}">
                <a16:creationId xmlns:a16="http://schemas.microsoft.com/office/drawing/2014/main" id="{039C4F58-8F3E-43A7-9E21-EB8D984A013C}"/>
              </a:ext>
            </a:extLst>
          </p:cNvPr>
          <p:cNvSpPr/>
          <p:nvPr userDrawn="1"/>
        </p:nvSpPr>
        <p:spPr>
          <a:xfrm>
            <a:off x="889952" y="0"/>
            <a:ext cx="2115183" cy="6858000"/>
          </a:xfrm>
          <a:custGeom>
            <a:avLst/>
            <a:gdLst>
              <a:gd name="connsiteX0" fmla="*/ 4030 w 2115183"/>
              <a:gd name="connsiteY0" fmla="*/ 0 h 6858000"/>
              <a:gd name="connsiteX1" fmla="*/ 450040 w 2115183"/>
              <a:gd name="connsiteY1" fmla="*/ 0 h 6858000"/>
              <a:gd name="connsiteX2" fmla="*/ 2115183 w 2115183"/>
              <a:gd name="connsiteY2" fmla="*/ 3434542 h 6858000"/>
              <a:gd name="connsiteX3" fmla="*/ 446600 w 2115183"/>
              <a:gd name="connsiteY3" fmla="*/ 6858000 h 6858000"/>
              <a:gd name="connsiteX4" fmla="*/ 0 w 2115183"/>
              <a:gd name="connsiteY4" fmla="*/ 6858000 h 6858000"/>
              <a:gd name="connsiteX5" fmla="*/ 1668583 w 2115183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5183" h="6858000">
                <a:moveTo>
                  <a:pt x="4030" y="0"/>
                </a:moveTo>
                <a:lnTo>
                  <a:pt x="450040" y="0"/>
                </a:lnTo>
                <a:lnTo>
                  <a:pt x="2115183" y="3434542"/>
                </a:lnTo>
                <a:lnTo>
                  <a:pt x="446600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>
                  <a:alpha val="80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3" name="Forme libre : forme 52">
            <a:extLst>
              <a:ext uri="{FF2B5EF4-FFF2-40B4-BE49-F238E27FC236}">
                <a16:creationId xmlns:a16="http://schemas.microsoft.com/office/drawing/2014/main" id="{F9D7EC4E-FE6D-462F-A679-C6074F1A33EF}"/>
              </a:ext>
            </a:extLst>
          </p:cNvPr>
          <p:cNvSpPr/>
          <p:nvPr userDrawn="1"/>
        </p:nvSpPr>
        <p:spPr>
          <a:xfrm>
            <a:off x="391739" y="0"/>
            <a:ext cx="2123068" cy="6858000"/>
          </a:xfrm>
          <a:custGeom>
            <a:avLst/>
            <a:gdLst>
              <a:gd name="connsiteX0" fmla="*/ 4030 w 2123068"/>
              <a:gd name="connsiteY0" fmla="*/ 0 h 6858000"/>
              <a:gd name="connsiteX1" fmla="*/ 457925 w 2123068"/>
              <a:gd name="connsiteY1" fmla="*/ 0 h 6858000"/>
              <a:gd name="connsiteX2" fmla="*/ 2123068 w 2123068"/>
              <a:gd name="connsiteY2" fmla="*/ 3434542 h 6858000"/>
              <a:gd name="connsiteX3" fmla="*/ 454485 w 2123068"/>
              <a:gd name="connsiteY3" fmla="*/ 6858000 h 6858000"/>
              <a:gd name="connsiteX4" fmla="*/ 0 w 2123068"/>
              <a:gd name="connsiteY4" fmla="*/ 6858000 h 6858000"/>
              <a:gd name="connsiteX5" fmla="*/ 1668583 w 2123068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23068" h="6858000">
                <a:moveTo>
                  <a:pt x="4030" y="0"/>
                </a:moveTo>
                <a:lnTo>
                  <a:pt x="457925" y="0"/>
                </a:lnTo>
                <a:lnTo>
                  <a:pt x="2123068" y="3434542"/>
                </a:lnTo>
                <a:lnTo>
                  <a:pt x="454485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>
                  <a:alpha val="80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4" name="Forme libre : forme 53">
            <a:extLst>
              <a:ext uri="{FF2B5EF4-FFF2-40B4-BE49-F238E27FC236}">
                <a16:creationId xmlns:a16="http://schemas.microsoft.com/office/drawing/2014/main" id="{E368BA92-4118-4AFC-B164-21EDFCF7C83A}"/>
              </a:ext>
            </a:extLst>
          </p:cNvPr>
          <p:cNvSpPr/>
          <p:nvPr userDrawn="1"/>
        </p:nvSpPr>
        <p:spPr>
          <a:xfrm>
            <a:off x="1" y="0"/>
            <a:ext cx="2016594" cy="6858000"/>
          </a:xfrm>
          <a:custGeom>
            <a:avLst/>
            <a:gdLst>
              <a:gd name="connsiteX0" fmla="*/ 0 w 2016594"/>
              <a:gd name="connsiteY0" fmla="*/ 0 h 6858000"/>
              <a:gd name="connsiteX1" fmla="*/ 351451 w 2016594"/>
              <a:gd name="connsiteY1" fmla="*/ 0 h 6858000"/>
              <a:gd name="connsiteX2" fmla="*/ 2016594 w 2016594"/>
              <a:gd name="connsiteY2" fmla="*/ 3434542 h 6858000"/>
              <a:gd name="connsiteX3" fmla="*/ 348011 w 2016594"/>
              <a:gd name="connsiteY3" fmla="*/ 6858000 h 6858000"/>
              <a:gd name="connsiteX4" fmla="*/ 0 w 2016594"/>
              <a:gd name="connsiteY4" fmla="*/ 6858000 h 6858000"/>
              <a:gd name="connsiteX5" fmla="*/ 0 w 2016594"/>
              <a:gd name="connsiteY5" fmla="*/ 6655729 h 6858000"/>
              <a:gd name="connsiteX6" fmla="*/ 1569994 w 2016594"/>
              <a:gd name="connsiteY6" fmla="*/ 3434542 h 6858000"/>
              <a:gd name="connsiteX7" fmla="*/ 0 w 2016594"/>
              <a:gd name="connsiteY7" fmla="*/ 1951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6594" h="6858000">
                <a:moveTo>
                  <a:pt x="0" y="0"/>
                </a:moveTo>
                <a:lnTo>
                  <a:pt x="351451" y="0"/>
                </a:lnTo>
                <a:lnTo>
                  <a:pt x="2016594" y="3434542"/>
                </a:lnTo>
                <a:lnTo>
                  <a:pt x="348011" y="6858000"/>
                </a:lnTo>
                <a:lnTo>
                  <a:pt x="0" y="6858000"/>
                </a:lnTo>
                <a:lnTo>
                  <a:pt x="0" y="6655729"/>
                </a:lnTo>
                <a:lnTo>
                  <a:pt x="1569994" y="3434542"/>
                </a:lnTo>
                <a:lnTo>
                  <a:pt x="0" y="195108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>
                  <a:alpha val="80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5" name="Forme libre : forme 54">
            <a:extLst>
              <a:ext uri="{FF2B5EF4-FFF2-40B4-BE49-F238E27FC236}">
                <a16:creationId xmlns:a16="http://schemas.microsoft.com/office/drawing/2014/main" id="{8E9060E9-5617-4257-A7E6-9F167F574426}"/>
              </a:ext>
            </a:extLst>
          </p:cNvPr>
          <p:cNvSpPr/>
          <p:nvPr userDrawn="1"/>
        </p:nvSpPr>
        <p:spPr>
          <a:xfrm>
            <a:off x="1" y="286451"/>
            <a:ext cx="1526266" cy="6279559"/>
          </a:xfrm>
          <a:custGeom>
            <a:avLst/>
            <a:gdLst>
              <a:gd name="connsiteX0" fmla="*/ 0 w 1526266"/>
              <a:gd name="connsiteY0" fmla="*/ 0 h 6279559"/>
              <a:gd name="connsiteX1" fmla="*/ 1526266 w 1526266"/>
              <a:gd name="connsiteY1" fmla="*/ 3148093 h 6279559"/>
              <a:gd name="connsiteX2" fmla="*/ 0 w 1526266"/>
              <a:gd name="connsiteY2" fmla="*/ 6279559 h 6279559"/>
              <a:gd name="connsiteX3" fmla="*/ 0 w 1526266"/>
              <a:gd name="connsiteY3" fmla="*/ 5347085 h 6279559"/>
              <a:gd name="connsiteX4" fmla="*/ 1071781 w 1526266"/>
              <a:gd name="connsiteY4" fmla="*/ 3148093 h 6279559"/>
              <a:gd name="connsiteX5" fmla="*/ 0 w 1526266"/>
              <a:gd name="connsiteY5" fmla="*/ 936642 h 6279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6266" h="6279559">
                <a:moveTo>
                  <a:pt x="0" y="0"/>
                </a:moveTo>
                <a:lnTo>
                  <a:pt x="1526266" y="3148093"/>
                </a:lnTo>
                <a:lnTo>
                  <a:pt x="0" y="6279559"/>
                </a:lnTo>
                <a:lnTo>
                  <a:pt x="0" y="5347085"/>
                </a:lnTo>
                <a:lnTo>
                  <a:pt x="1071781" y="3148093"/>
                </a:lnTo>
                <a:lnTo>
                  <a:pt x="0" y="9366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>
                  <a:alpha val="80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6" name="Forme libre : forme 55">
            <a:extLst>
              <a:ext uri="{FF2B5EF4-FFF2-40B4-BE49-F238E27FC236}">
                <a16:creationId xmlns:a16="http://schemas.microsoft.com/office/drawing/2014/main" id="{3E0BE9FC-C7C4-4D38-A424-50E571070672}"/>
              </a:ext>
            </a:extLst>
          </p:cNvPr>
          <p:cNvSpPr/>
          <p:nvPr userDrawn="1"/>
        </p:nvSpPr>
        <p:spPr>
          <a:xfrm>
            <a:off x="0" y="1297051"/>
            <a:ext cx="1035939" cy="4262949"/>
          </a:xfrm>
          <a:custGeom>
            <a:avLst/>
            <a:gdLst>
              <a:gd name="connsiteX0" fmla="*/ 0 w 1035939"/>
              <a:gd name="connsiteY0" fmla="*/ 0 h 4262949"/>
              <a:gd name="connsiteX1" fmla="*/ 1035939 w 1035939"/>
              <a:gd name="connsiteY1" fmla="*/ 2137495 h 4262949"/>
              <a:gd name="connsiteX2" fmla="*/ 0 w 1035939"/>
              <a:gd name="connsiteY2" fmla="*/ 4262949 h 4262949"/>
              <a:gd name="connsiteX3" fmla="*/ 0 w 1035939"/>
              <a:gd name="connsiteY3" fmla="*/ 3314296 h 4262949"/>
              <a:gd name="connsiteX4" fmla="*/ 573569 w 1035939"/>
              <a:gd name="connsiteY4" fmla="*/ 2137495 h 4262949"/>
              <a:gd name="connsiteX5" fmla="*/ 0 w 1035939"/>
              <a:gd name="connsiteY5" fmla="*/ 954028 h 4262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35939" h="4262949">
                <a:moveTo>
                  <a:pt x="0" y="0"/>
                </a:moveTo>
                <a:lnTo>
                  <a:pt x="1035939" y="2137495"/>
                </a:lnTo>
                <a:lnTo>
                  <a:pt x="0" y="4262949"/>
                </a:lnTo>
                <a:lnTo>
                  <a:pt x="0" y="3314296"/>
                </a:lnTo>
                <a:lnTo>
                  <a:pt x="573569" y="2137495"/>
                </a:lnTo>
                <a:lnTo>
                  <a:pt x="0" y="954028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>
                  <a:alpha val="80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7" name="Forme libre : forme 56">
            <a:extLst>
              <a:ext uri="{FF2B5EF4-FFF2-40B4-BE49-F238E27FC236}">
                <a16:creationId xmlns:a16="http://schemas.microsoft.com/office/drawing/2014/main" id="{185DE1FB-245A-405E-9908-B3CDA4011C0E}"/>
              </a:ext>
            </a:extLst>
          </p:cNvPr>
          <p:cNvSpPr/>
          <p:nvPr userDrawn="1"/>
        </p:nvSpPr>
        <p:spPr>
          <a:xfrm>
            <a:off x="0" y="2316549"/>
            <a:ext cx="542029" cy="2230086"/>
          </a:xfrm>
          <a:custGeom>
            <a:avLst/>
            <a:gdLst>
              <a:gd name="connsiteX0" fmla="*/ 0 w 542029"/>
              <a:gd name="connsiteY0" fmla="*/ 0 h 2230086"/>
              <a:gd name="connsiteX1" fmla="*/ 542029 w 542029"/>
              <a:gd name="connsiteY1" fmla="*/ 1117995 h 2230086"/>
              <a:gd name="connsiteX2" fmla="*/ 0 w 542029"/>
              <a:gd name="connsiteY2" fmla="*/ 2230086 h 2230086"/>
              <a:gd name="connsiteX3" fmla="*/ 0 w 542029"/>
              <a:gd name="connsiteY3" fmla="*/ 1281433 h 2230086"/>
              <a:gd name="connsiteX4" fmla="*/ 1 w 542029"/>
              <a:gd name="connsiteY4" fmla="*/ 1281431 h 2230086"/>
              <a:gd name="connsiteX5" fmla="*/ 1 w 542029"/>
              <a:gd name="connsiteY5" fmla="*/ 953633 h 2230086"/>
              <a:gd name="connsiteX6" fmla="*/ 0 w 542029"/>
              <a:gd name="connsiteY6" fmla="*/ 953631 h 2230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029" h="2230086">
                <a:moveTo>
                  <a:pt x="0" y="0"/>
                </a:moveTo>
                <a:lnTo>
                  <a:pt x="542029" y="1117995"/>
                </a:lnTo>
                <a:lnTo>
                  <a:pt x="0" y="2230086"/>
                </a:lnTo>
                <a:lnTo>
                  <a:pt x="0" y="1281433"/>
                </a:lnTo>
                <a:lnTo>
                  <a:pt x="1" y="1281431"/>
                </a:lnTo>
                <a:lnTo>
                  <a:pt x="1" y="953633"/>
                </a:lnTo>
                <a:lnTo>
                  <a:pt x="0" y="953631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>
                  <a:alpha val="80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0EE9A88C-81D9-4310-BC8D-CFB57C48F6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11396" y="1599488"/>
            <a:ext cx="3755136" cy="203197"/>
          </a:xfrm>
          <a:noFill/>
          <a:effectLst/>
        </p:spPr>
        <p:txBody>
          <a:bodyPr lIns="0" tIns="0" rIns="0" bIns="0" anchor="b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lang="en-US" sz="1467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170684" indent="0" algn="ctr">
              <a:buNone/>
              <a:defRPr lang="en-US" sz="1467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67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ONTACT</a:t>
            </a:r>
          </a:p>
        </p:txBody>
      </p: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EFD17F3E-BA9A-4714-AF87-43CCF4AB8AD1}"/>
              </a:ext>
            </a:extLst>
          </p:cNvPr>
          <p:cNvGrpSpPr/>
          <p:nvPr userDrawn="1"/>
        </p:nvGrpSpPr>
        <p:grpSpPr>
          <a:xfrm>
            <a:off x="7711396" y="5587483"/>
            <a:ext cx="3755136" cy="709858"/>
            <a:chOff x="7711396" y="5587483"/>
            <a:chExt cx="3755136" cy="709858"/>
          </a:xfrm>
        </p:grpSpPr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B0E0C352-B6C2-4826-A96F-FF509C1B85C2}"/>
                </a:ext>
              </a:extLst>
            </p:cNvPr>
            <p:cNvSpPr/>
            <p:nvPr/>
          </p:nvSpPr>
          <p:spPr>
            <a:xfrm>
              <a:off x="8956248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67 w 289676"/>
                <a:gd name="connsiteY5" fmla="*/ 144838 h 289675"/>
                <a:gd name="connsiteX6" fmla="*/ 144838 w 289676"/>
                <a:gd name="connsiteY6" fmla="*/ 13167 h 289675"/>
                <a:gd name="connsiteX7" fmla="*/ 276509 w 289676"/>
                <a:gd name="connsiteY7" fmla="*/ 144838 h 289675"/>
                <a:gd name="connsiteX8" fmla="*/ 144838 w 289676"/>
                <a:gd name="connsiteY8" fmla="*/ 276508 h 289675"/>
                <a:gd name="connsiteX9" fmla="*/ 13167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7"/>
                    <a:pt x="224828" y="0"/>
                    <a:pt x="144838" y="0"/>
                  </a:cubicBezTo>
                  <a:cubicBezTo>
                    <a:pt x="64848" y="0"/>
                    <a:pt x="0" y="64847"/>
                    <a:pt x="0" y="144838"/>
                  </a:cubicBezTo>
                  <a:cubicBezTo>
                    <a:pt x="0" y="224827"/>
                    <a:pt x="64848" y="289675"/>
                    <a:pt x="144838" y="289675"/>
                  </a:cubicBezTo>
                  <a:cubicBezTo>
                    <a:pt x="224828" y="289675"/>
                    <a:pt x="289676" y="224827"/>
                    <a:pt x="289676" y="144838"/>
                  </a:cubicBezTo>
                  <a:close/>
                  <a:moveTo>
                    <a:pt x="13167" y="144838"/>
                  </a:moveTo>
                  <a:cubicBezTo>
                    <a:pt x="13167" y="72116"/>
                    <a:pt x="72116" y="13167"/>
                    <a:pt x="144838" y="13167"/>
                  </a:cubicBezTo>
                  <a:cubicBezTo>
                    <a:pt x="217560" y="13167"/>
                    <a:pt x="276509" y="72116"/>
                    <a:pt x="276509" y="144838"/>
                  </a:cubicBezTo>
                  <a:cubicBezTo>
                    <a:pt x="276509" y="217559"/>
                    <a:pt x="217560" y="276508"/>
                    <a:pt x="144838" y="276508"/>
                  </a:cubicBezTo>
                  <a:cubicBezTo>
                    <a:pt x="72116" y="276508"/>
                    <a:pt x="13167" y="217559"/>
                    <a:pt x="13167" y="144838"/>
                  </a:cubicBezTo>
                  <a:close/>
                </a:path>
              </a:pathLst>
            </a:custGeom>
            <a:solidFill>
              <a:schemeClr val="bg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8" name="ZoneTexte 57">
              <a:hlinkClick r:id="rId2"/>
              <a:extLst>
                <a:ext uri="{FF2B5EF4-FFF2-40B4-BE49-F238E27FC236}">
                  <a16:creationId xmlns:a16="http://schemas.microsoft.com/office/drawing/2014/main" id="{DA52B5B7-197A-4E43-BDEF-A163322794D6}"/>
                </a:ext>
              </a:extLst>
            </p:cNvPr>
            <p:cNvSpPr txBox="1"/>
            <p:nvPr userDrawn="1"/>
          </p:nvSpPr>
          <p:spPr>
            <a:xfrm>
              <a:off x="7711396" y="6061892"/>
              <a:ext cx="3755136" cy="235449"/>
            </a:xfrm>
            <a:prstGeom prst="rect">
              <a:avLst/>
            </a:prstGeom>
            <a:noFill/>
            <a:effectLst/>
          </p:spPr>
          <p:txBody>
            <a:bodyPr vert="horz" wrap="square" lIns="0" tIns="0" rIns="0" bIns="0" rtlCol="0" anchor="ctr" anchorCtr="0">
              <a:spAutoFit/>
            </a:bodyPr>
            <a:lstStyle>
              <a:lvl1pPr lvl="0" indent="0" algn="ctr" defTabSz="914377">
                <a:lnSpc>
                  <a:spcPct val="90000"/>
                </a:lnSpc>
                <a:spcBef>
                  <a:spcPts val="1600"/>
                </a:spcBef>
                <a:buFont typeface="Arial" panose="020B0604020202020204" pitchFamily="34" charset="0"/>
                <a:buNone/>
                <a:defRPr sz="1700" b="1" baseline="0">
                  <a:solidFill>
                    <a:schemeClr val="bg1"/>
                  </a:solidFill>
                </a:defRPr>
              </a:lvl1pPr>
              <a:lvl2pPr marL="170684" indent="0" algn="ctr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None/>
                <a:defRPr sz="1333">
                  <a:solidFill>
                    <a:schemeClr val="bg1"/>
                  </a:solidFill>
                </a:defRPr>
              </a:lvl2pPr>
              <a:lvl3pPr marL="621776" indent="-292601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Char char="→"/>
                <a:defRPr sz="1600">
                  <a:solidFill>
                    <a:schemeClr val="accent1"/>
                  </a:solidFill>
                </a:defRPr>
              </a:lvl3pPr>
              <a:lvl4pPr marL="768077" indent="-146300" defTabSz="914377">
                <a:lnSpc>
                  <a:spcPct val="90000"/>
                </a:lnSpc>
                <a:spcBef>
                  <a:spcPts val="533"/>
                </a:spcBef>
                <a:buFontTx/>
                <a:buBlip>
                  <a:blip r:embed="rId3"/>
                </a:buBlip>
                <a:defRPr sz="1333"/>
              </a:lvl4pPr>
              <a:lvl5pPr marL="914377" indent="-109725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Char char="•"/>
                <a:defRPr sz="1333">
                  <a:solidFill>
                    <a:schemeClr val="bg2"/>
                  </a:solidFill>
                </a:defRPr>
              </a:lvl5pPr>
              <a:lvl6pPr marL="2514537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6pPr>
              <a:lvl7pPr marL="2971726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7pPr>
              <a:lvl8pPr marL="3428914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8pPr>
              <a:lvl9pPr marL="3886103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9pPr>
            </a:lstStyle>
            <a:p>
              <a:pPr lvl="0"/>
              <a:r>
                <a:rPr lang="en-US" noProof="0" dirty="0">
                  <a:solidFill>
                    <a:schemeClr val="bg1"/>
                  </a:solidFill>
                </a:rPr>
                <a:t>www.Idemia.com</a:t>
              </a:r>
            </a:p>
          </p:txBody>
        </p:sp>
        <p:cxnSp>
          <p:nvCxnSpPr>
            <p:cNvPr id="59" name="Connecteur droit 58">
              <a:extLst>
                <a:ext uri="{FF2B5EF4-FFF2-40B4-BE49-F238E27FC236}">
                  <a16:creationId xmlns:a16="http://schemas.microsoft.com/office/drawing/2014/main" id="{3ADB557E-416A-411F-982A-F8E4DB66105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168955" y="5975873"/>
              <a:ext cx="2840018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ZoneTexte 59">
              <a:extLst>
                <a:ext uri="{FF2B5EF4-FFF2-40B4-BE49-F238E27FC236}">
                  <a16:creationId xmlns:a16="http://schemas.microsoft.com/office/drawing/2014/main" id="{9C5DE039-6F5B-46BC-942B-34466B85D2A1}"/>
                </a:ext>
              </a:extLst>
            </p:cNvPr>
            <p:cNvSpPr txBox="1"/>
            <p:nvPr userDrawn="1"/>
          </p:nvSpPr>
          <p:spPr>
            <a:xfrm>
              <a:off x="8173974" y="5687356"/>
              <a:ext cx="744115" cy="145424"/>
            </a:xfrm>
            <a:prstGeom prst="rect">
              <a:avLst/>
            </a:prstGeom>
            <a:noFill/>
            <a:effectLst/>
          </p:spPr>
          <p:txBody>
            <a:bodyPr vert="horz" wrap="square" lIns="0" tIns="0" rIns="0" bIns="0" rtlCol="0" anchor="ctr" anchorCtr="0">
              <a:spAutoFit/>
            </a:bodyPr>
            <a:lstStyle>
              <a:lvl1pPr lvl="0" indent="0" algn="ctr" defTabSz="914377">
                <a:lnSpc>
                  <a:spcPct val="90000"/>
                </a:lnSpc>
                <a:spcBef>
                  <a:spcPts val="1600"/>
                </a:spcBef>
                <a:buFont typeface="Arial" panose="020B0604020202020204" pitchFamily="34" charset="0"/>
                <a:buNone/>
                <a:defRPr sz="1700" b="1" baseline="0">
                  <a:solidFill>
                    <a:schemeClr val="bg1"/>
                  </a:solidFill>
                </a:defRPr>
              </a:lvl1pPr>
              <a:lvl2pPr marL="170684" indent="0" algn="ctr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None/>
                <a:defRPr sz="1333">
                  <a:solidFill>
                    <a:schemeClr val="bg1"/>
                  </a:solidFill>
                </a:defRPr>
              </a:lvl2pPr>
              <a:lvl3pPr marL="621776" indent="-292601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Char char="→"/>
                <a:defRPr sz="1600">
                  <a:solidFill>
                    <a:schemeClr val="accent1"/>
                  </a:solidFill>
                </a:defRPr>
              </a:lvl3pPr>
              <a:lvl4pPr marL="768077" indent="-146300" defTabSz="914377">
                <a:lnSpc>
                  <a:spcPct val="90000"/>
                </a:lnSpc>
                <a:spcBef>
                  <a:spcPts val="533"/>
                </a:spcBef>
                <a:buFontTx/>
                <a:buBlip>
                  <a:blip r:embed="rId3"/>
                </a:buBlip>
                <a:defRPr sz="1333"/>
              </a:lvl4pPr>
              <a:lvl5pPr marL="914377" indent="-109725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Char char="•"/>
                <a:defRPr sz="1333">
                  <a:solidFill>
                    <a:schemeClr val="bg2"/>
                  </a:solidFill>
                </a:defRPr>
              </a:lvl5pPr>
              <a:lvl6pPr marL="2514537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6pPr>
              <a:lvl7pPr marL="2971726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7pPr>
              <a:lvl8pPr marL="3428914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8pPr>
              <a:lvl9pPr marL="3886103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9pPr>
            </a:lstStyle>
            <a:p>
              <a:pPr lvl="0" algn="l"/>
              <a:r>
                <a:rPr lang="en-US" sz="1050" b="0" spc="43" noProof="0" dirty="0">
                  <a:solidFill>
                    <a:schemeClr val="bg1"/>
                  </a:solidFill>
                </a:rPr>
                <a:t>Join us on</a:t>
              </a:r>
            </a:p>
          </p:txBody>
        </p:sp>
        <p:grpSp>
          <p:nvGrpSpPr>
            <p:cNvPr id="61" name="Graphique 109">
              <a:extLst>
                <a:ext uri="{FF2B5EF4-FFF2-40B4-BE49-F238E27FC236}">
                  <a16:creationId xmlns:a16="http://schemas.microsoft.com/office/drawing/2014/main" id="{EE61F334-8B06-496E-A2DD-E9ADEDFC3757}"/>
                </a:ext>
              </a:extLst>
            </p:cNvPr>
            <p:cNvGrpSpPr/>
            <p:nvPr/>
          </p:nvGrpSpPr>
          <p:grpSpPr>
            <a:xfrm>
              <a:off x="10791668" y="5661826"/>
              <a:ext cx="145879" cy="145878"/>
              <a:chOff x="10791668" y="5661826"/>
              <a:chExt cx="145879" cy="145878"/>
            </a:xfrm>
            <a:solidFill>
              <a:schemeClr val="accent1"/>
            </a:solidFill>
          </p:grpSpPr>
          <p:sp>
            <p:nvSpPr>
              <p:cNvPr id="75" name="Forme libre : forme 74">
                <a:extLst>
                  <a:ext uri="{FF2B5EF4-FFF2-40B4-BE49-F238E27FC236}">
                    <a16:creationId xmlns:a16="http://schemas.microsoft.com/office/drawing/2014/main" id="{386073FF-DF7A-47D4-89FA-E53B0042CF24}"/>
                  </a:ext>
                </a:extLst>
              </p:cNvPr>
              <p:cNvSpPr/>
              <p:nvPr/>
            </p:nvSpPr>
            <p:spPr>
              <a:xfrm>
                <a:off x="10791668" y="5661826"/>
                <a:ext cx="145879" cy="145878"/>
              </a:xfrm>
              <a:custGeom>
                <a:avLst/>
                <a:gdLst>
                  <a:gd name="connsiteX0" fmla="*/ 72940 w 145879"/>
                  <a:gd name="connsiteY0" fmla="*/ 13111 h 145878"/>
                  <a:gd name="connsiteX1" fmla="*/ 102381 w 145879"/>
                  <a:gd name="connsiteY1" fmla="*/ 13537 h 145878"/>
                  <a:gd name="connsiteX2" fmla="*/ 115918 w 145879"/>
                  <a:gd name="connsiteY2" fmla="*/ 16046 h 145878"/>
                  <a:gd name="connsiteX3" fmla="*/ 124296 w 145879"/>
                  <a:gd name="connsiteY3" fmla="*/ 21489 h 145878"/>
                  <a:gd name="connsiteX4" fmla="*/ 129739 w 145879"/>
                  <a:gd name="connsiteY4" fmla="*/ 29867 h 145878"/>
                  <a:gd name="connsiteX5" fmla="*/ 132248 w 145879"/>
                  <a:gd name="connsiteY5" fmla="*/ 43404 h 145878"/>
                  <a:gd name="connsiteX6" fmla="*/ 132674 w 145879"/>
                  <a:gd name="connsiteY6" fmla="*/ 72845 h 145878"/>
                  <a:gd name="connsiteX7" fmla="*/ 132248 w 145879"/>
                  <a:gd name="connsiteY7" fmla="*/ 102286 h 145878"/>
                  <a:gd name="connsiteX8" fmla="*/ 129739 w 145879"/>
                  <a:gd name="connsiteY8" fmla="*/ 115823 h 145878"/>
                  <a:gd name="connsiteX9" fmla="*/ 124296 w 145879"/>
                  <a:gd name="connsiteY9" fmla="*/ 124201 h 145878"/>
                  <a:gd name="connsiteX10" fmla="*/ 115918 w 145879"/>
                  <a:gd name="connsiteY10" fmla="*/ 129644 h 145878"/>
                  <a:gd name="connsiteX11" fmla="*/ 102381 w 145879"/>
                  <a:gd name="connsiteY11" fmla="*/ 132152 h 145878"/>
                  <a:gd name="connsiteX12" fmla="*/ 72940 w 145879"/>
                  <a:gd name="connsiteY12" fmla="*/ 132578 h 145878"/>
                  <a:gd name="connsiteX13" fmla="*/ 43499 w 145879"/>
                  <a:gd name="connsiteY13" fmla="*/ 132152 h 145878"/>
                  <a:gd name="connsiteX14" fmla="*/ 29962 w 145879"/>
                  <a:gd name="connsiteY14" fmla="*/ 129644 h 145878"/>
                  <a:gd name="connsiteX15" fmla="*/ 21584 w 145879"/>
                  <a:gd name="connsiteY15" fmla="*/ 124201 h 145878"/>
                  <a:gd name="connsiteX16" fmla="*/ 16140 w 145879"/>
                  <a:gd name="connsiteY16" fmla="*/ 115823 h 145878"/>
                  <a:gd name="connsiteX17" fmla="*/ 13632 w 145879"/>
                  <a:gd name="connsiteY17" fmla="*/ 102286 h 145878"/>
                  <a:gd name="connsiteX18" fmla="*/ 13206 w 145879"/>
                  <a:gd name="connsiteY18" fmla="*/ 72845 h 145878"/>
                  <a:gd name="connsiteX19" fmla="*/ 13632 w 145879"/>
                  <a:gd name="connsiteY19" fmla="*/ 43404 h 145878"/>
                  <a:gd name="connsiteX20" fmla="*/ 16140 w 145879"/>
                  <a:gd name="connsiteY20" fmla="*/ 29867 h 145878"/>
                  <a:gd name="connsiteX21" fmla="*/ 21584 w 145879"/>
                  <a:gd name="connsiteY21" fmla="*/ 21489 h 145878"/>
                  <a:gd name="connsiteX22" fmla="*/ 29962 w 145879"/>
                  <a:gd name="connsiteY22" fmla="*/ 16046 h 145878"/>
                  <a:gd name="connsiteX23" fmla="*/ 43499 w 145879"/>
                  <a:gd name="connsiteY23" fmla="*/ 13537 h 145878"/>
                  <a:gd name="connsiteX24" fmla="*/ 72940 w 145879"/>
                  <a:gd name="connsiteY24" fmla="*/ 13111 h 145878"/>
                  <a:gd name="connsiteX25" fmla="*/ 72940 w 145879"/>
                  <a:gd name="connsiteY25" fmla="*/ 0 h 145878"/>
                  <a:gd name="connsiteX26" fmla="*/ 42883 w 145879"/>
                  <a:gd name="connsiteY26" fmla="*/ 426 h 145878"/>
                  <a:gd name="connsiteX27" fmla="*/ 25181 w 145879"/>
                  <a:gd name="connsiteY27" fmla="*/ 3834 h 145878"/>
                  <a:gd name="connsiteX28" fmla="*/ 12259 w 145879"/>
                  <a:gd name="connsiteY28" fmla="*/ 12259 h 145878"/>
                  <a:gd name="connsiteX29" fmla="*/ 3834 w 145879"/>
                  <a:gd name="connsiteY29" fmla="*/ 25181 h 145878"/>
                  <a:gd name="connsiteX30" fmla="*/ 426 w 145879"/>
                  <a:gd name="connsiteY30" fmla="*/ 42883 h 145878"/>
                  <a:gd name="connsiteX31" fmla="*/ 0 w 145879"/>
                  <a:gd name="connsiteY31" fmla="*/ 72939 h 145878"/>
                  <a:gd name="connsiteX32" fmla="*/ 426 w 145879"/>
                  <a:gd name="connsiteY32" fmla="*/ 102996 h 145878"/>
                  <a:gd name="connsiteX33" fmla="*/ 3834 w 145879"/>
                  <a:gd name="connsiteY33" fmla="*/ 120698 h 145878"/>
                  <a:gd name="connsiteX34" fmla="*/ 12259 w 145879"/>
                  <a:gd name="connsiteY34" fmla="*/ 133620 h 145878"/>
                  <a:gd name="connsiteX35" fmla="*/ 25181 w 145879"/>
                  <a:gd name="connsiteY35" fmla="*/ 142045 h 145878"/>
                  <a:gd name="connsiteX36" fmla="*/ 42883 w 145879"/>
                  <a:gd name="connsiteY36" fmla="*/ 145453 h 145878"/>
                  <a:gd name="connsiteX37" fmla="*/ 72940 w 145879"/>
                  <a:gd name="connsiteY37" fmla="*/ 145879 h 145878"/>
                  <a:gd name="connsiteX38" fmla="*/ 102996 w 145879"/>
                  <a:gd name="connsiteY38" fmla="*/ 145453 h 145878"/>
                  <a:gd name="connsiteX39" fmla="*/ 120698 w 145879"/>
                  <a:gd name="connsiteY39" fmla="*/ 142045 h 145878"/>
                  <a:gd name="connsiteX40" fmla="*/ 133620 w 145879"/>
                  <a:gd name="connsiteY40" fmla="*/ 133620 h 145878"/>
                  <a:gd name="connsiteX41" fmla="*/ 142045 w 145879"/>
                  <a:gd name="connsiteY41" fmla="*/ 120698 h 145878"/>
                  <a:gd name="connsiteX42" fmla="*/ 145453 w 145879"/>
                  <a:gd name="connsiteY42" fmla="*/ 102996 h 145878"/>
                  <a:gd name="connsiteX43" fmla="*/ 145879 w 145879"/>
                  <a:gd name="connsiteY43" fmla="*/ 72939 h 145878"/>
                  <a:gd name="connsiteX44" fmla="*/ 145453 w 145879"/>
                  <a:gd name="connsiteY44" fmla="*/ 42883 h 145878"/>
                  <a:gd name="connsiteX45" fmla="*/ 142045 w 145879"/>
                  <a:gd name="connsiteY45" fmla="*/ 25181 h 145878"/>
                  <a:gd name="connsiteX46" fmla="*/ 133620 w 145879"/>
                  <a:gd name="connsiteY46" fmla="*/ 12259 h 145878"/>
                  <a:gd name="connsiteX47" fmla="*/ 120698 w 145879"/>
                  <a:gd name="connsiteY47" fmla="*/ 3834 h 145878"/>
                  <a:gd name="connsiteX48" fmla="*/ 102996 w 145879"/>
                  <a:gd name="connsiteY48" fmla="*/ 426 h 145878"/>
                  <a:gd name="connsiteX49" fmla="*/ 72940 w 145879"/>
                  <a:gd name="connsiteY49" fmla="*/ 0 h 145878"/>
                  <a:gd name="connsiteX50" fmla="*/ 72940 w 145879"/>
                  <a:gd name="connsiteY50" fmla="*/ 0 h 145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45879" h="145878">
                    <a:moveTo>
                      <a:pt x="72940" y="13111"/>
                    </a:moveTo>
                    <a:cubicBezTo>
                      <a:pt x="92393" y="13111"/>
                      <a:pt x="94713" y="13206"/>
                      <a:pt x="102381" y="13537"/>
                    </a:cubicBezTo>
                    <a:cubicBezTo>
                      <a:pt x="109481" y="13868"/>
                      <a:pt x="113362" y="15052"/>
                      <a:pt x="115918" y="16046"/>
                    </a:cubicBezTo>
                    <a:cubicBezTo>
                      <a:pt x="119326" y="17371"/>
                      <a:pt x="121740" y="18933"/>
                      <a:pt x="124296" y="21489"/>
                    </a:cubicBezTo>
                    <a:cubicBezTo>
                      <a:pt x="126852" y="24045"/>
                      <a:pt x="128414" y="26459"/>
                      <a:pt x="129739" y="29867"/>
                    </a:cubicBezTo>
                    <a:cubicBezTo>
                      <a:pt x="130733" y="32423"/>
                      <a:pt x="131916" y="36304"/>
                      <a:pt x="132248" y="43404"/>
                    </a:cubicBezTo>
                    <a:cubicBezTo>
                      <a:pt x="132579" y="51072"/>
                      <a:pt x="132674" y="53391"/>
                      <a:pt x="132674" y="72845"/>
                    </a:cubicBezTo>
                    <a:cubicBezTo>
                      <a:pt x="132674" y="92298"/>
                      <a:pt x="132579" y="94618"/>
                      <a:pt x="132248" y="102286"/>
                    </a:cubicBezTo>
                    <a:cubicBezTo>
                      <a:pt x="131916" y="109385"/>
                      <a:pt x="130733" y="113267"/>
                      <a:pt x="129739" y="115823"/>
                    </a:cubicBezTo>
                    <a:cubicBezTo>
                      <a:pt x="128414" y="119231"/>
                      <a:pt x="126852" y="121645"/>
                      <a:pt x="124296" y="124201"/>
                    </a:cubicBezTo>
                    <a:cubicBezTo>
                      <a:pt x="121740" y="126756"/>
                      <a:pt x="119326" y="128318"/>
                      <a:pt x="115918" y="129644"/>
                    </a:cubicBezTo>
                    <a:cubicBezTo>
                      <a:pt x="113362" y="130638"/>
                      <a:pt x="109481" y="131821"/>
                      <a:pt x="102381" y="132152"/>
                    </a:cubicBezTo>
                    <a:cubicBezTo>
                      <a:pt x="94713" y="132484"/>
                      <a:pt x="92393" y="132578"/>
                      <a:pt x="72940" y="132578"/>
                    </a:cubicBezTo>
                    <a:cubicBezTo>
                      <a:pt x="53486" y="132578"/>
                      <a:pt x="51167" y="132484"/>
                      <a:pt x="43499" y="132152"/>
                    </a:cubicBezTo>
                    <a:cubicBezTo>
                      <a:pt x="36399" y="131821"/>
                      <a:pt x="32518" y="130638"/>
                      <a:pt x="29962" y="129644"/>
                    </a:cubicBezTo>
                    <a:cubicBezTo>
                      <a:pt x="26554" y="128318"/>
                      <a:pt x="24140" y="126756"/>
                      <a:pt x="21584" y="124201"/>
                    </a:cubicBezTo>
                    <a:cubicBezTo>
                      <a:pt x="19028" y="121645"/>
                      <a:pt x="17466" y="119231"/>
                      <a:pt x="16140" y="115823"/>
                    </a:cubicBezTo>
                    <a:cubicBezTo>
                      <a:pt x="15146" y="113267"/>
                      <a:pt x="13963" y="109385"/>
                      <a:pt x="13632" y="102286"/>
                    </a:cubicBezTo>
                    <a:cubicBezTo>
                      <a:pt x="13300" y="94618"/>
                      <a:pt x="13206" y="92298"/>
                      <a:pt x="13206" y="72845"/>
                    </a:cubicBezTo>
                    <a:cubicBezTo>
                      <a:pt x="13206" y="53391"/>
                      <a:pt x="13300" y="51072"/>
                      <a:pt x="13632" y="43404"/>
                    </a:cubicBezTo>
                    <a:cubicBezTo>
                      <a:pt x="13963" y="36304"/>
                      <a:pt x="15146" y="32423"/>
                      <a:pt x="16140" y="29867"/>
                    </a:cubicBezTo>
                    <a:cubicBezTo>
                      <a:pt x="17466" y="26459"/>
                      <a:pt x="19028" y="24045"/>
                      <a:pt x="21584" y="21489"/>
                    </a:cubicBezTo>
                    <a:cubicBezTo>
                      <a:pt x="24140" y="18933"/>
                      <a:pt x="26554" y="17371"/>
                      <a:pt x="29962" y="16046"/>
                    </a:cubicBezTo>
                    <a:cubicBezTo>
                      <a:pt x="32518" y="15052"/>
                      <a:pt x="36399" y="13868"/>
                      <a:pt x="43499" y="13537"/>
                    </a:cubicBezTo>
                    <a:cubicBezTo>
                      <a:pt x="51167" y="13206"/>
                      <a:pt x="53486" y="13111"/>
                      <a:pt x="72940" y="13111"/>
                    </a:cubicBezTo>
                    <a:moveTo>
                      <a:pt x="72940" y="0"/>
                    </a:moveTo>
                    <a:cubicBezTo>
                      <a:pt x="53155" y="0"/>
                      <a:pt x="50646" y="95"/>
                      <a:pt x="42883" y="426"/>
                    </a:cubicBezTo>
                    <a:cubicBezTo>
                      <a:pt x="35121" y="757"/>
                      <a:pt x="29820" y="2035"/>
                      <a:pt x="25181" y="3834"/>
                    </a:cubicBezTo>
                    <a:cubicBezTo>
                      <a:pt x="20400" y="5680"/>
                      <a:pt x="16330" y="8189"/>
                      <a:pt x="12259" y="12259"/>
                    </a:cubicBezTo>
                    <a:cubicBezTo>
                      <a:pt x="8189" y="16330"/>
                      <a:pt x="5727" y="20353"/>
                      <a:pt x="3834" y="25181"/>
                    </a:cubicBezTo>
                    <a:cubicBezTo>
                      <a:pt x="2035" y="29819"/>
                      <a:pt x="805" y="35121"/>
                      <a:pt x="426" y="42883"/>
                    </a:cubicBezTo>
                    <a:cubicBezTo>
                      <a:pt x="95" y="50646"/>
                      <a:pt x="0" y="53154"/>
                      <a:pt x="0" y="72939"/>
                    </a:cubicBezTo>
                    <a:cubicBezTo>
                      <a:pt x="0" y="92724"/>
                      <a:pt x="95" y="95233"/>
                      <a:pt x="426" y="102996"/>
                    </a:cubicBezTo>
                    <a:cubicBezTo>
                      <a:pt x="757" y="110758"/>
                      <a:pt x="2035" y="116059"/>
                      <a:pt x="3834" y="120698"/>
                    </a:cubicBezTo>
                    <a:cubicBezTo>
                      <a:pt x="5680" y="125479"/>
                      <a:pt x="8189" y="129549"/>
                      <a:pt x="12259" y="133620"/>
                    </a:cubicBezTo>
                    <a:cubicBezTo>
                      <a:pt x="16330" y="137690"/>
                      <a:pt x="20353" y="140152"/>
                      <a:pt x="25181" y="142045"/>
                    </a:cubicBezTo>
                    <a:cubicBezTo>
                      <a:pt x="29820" y="143844"/>
                      <a:pt x="35121" y="145074"/>
                      <a:pt x="42883" y="145453"/>
                    </a:cubicBezTo>
                    <a:cubicBezTo>
                      <a:pt x="50646" y="145784"/>
                      <a:pt x="53155" y="145879"/>
                      <a:pt x="72940" y="145879"/>
                    </a:cubicBezTo>
                    <a:cubicBezTo>
                      <a:pt x="92725" y="145879"/>
                      <a:pt x="95233" y="145784"/>
                      <a:pt x="102996" y="145453"/>
                    </a:cubicBezTo>
                    <a:cubicBezTo>
                      <a:pt x="110758" y="145122"/>
                      <a:pt x="116060" y="143844"/>
                      <a:pt x="120698" y="142045"/>
                    </a:cubicBezTo>
                    <a:cubicBezTo>
                      <a:pt x="125479" y="140199"/>
                      <a:pt x="129550" y="137690"/>
                      <a:pt x="133620" y="133620"/>
                    </a:cubicBezTo>
                    <a:cubicBezTo>
                      <a:pt x="137691" y="129549"/>
                      <a:pt x="140152" y="125526"/>
                      <a:pt x="142045" y="120698"/>
                    </a:cubicBezTo>
                    <a:cubicBezTo>
                      <a:pt x="143844" y="116059"/>
                      <a:pt x="145075" y="110758"/>
                      <a:pt x="145453" y="102996"/>
                    </a:cubicBezTo>
                    <a:cubicBezTo>
                      <a:pt x="145785" y="95233"/>
                      <a:pt x="145879" y="92724"/>
                      <a:pt x="145879" y="72939"/>
                    </a:cubicBezTo>
                    <a:cubicBezTo>
                      <a:pt x="145879" y="53154"/>
                      <a:pt x="145785" y="50646"/>
                      <a:pt x="145453" y="42883"/>
                    </a:cubicBezTo>
                    <a:cubicBezTo>
                      <a:pt x="145122" y="35121"/>
                      <a:pt x="143844" y="29819"/>
                      <a:pt x="142045" y="25181"/>
                    </a:cubicBezTo>
                    <a:cubicBezTo>
                      <a:pt x="140199" y="20400"/>
                      <a:pt x="137691" y="16330"/>
                      <a:pt x="133620" y="12259"/>
                    </a:cubicBezTo>
                    <a:cubicBezTo>
                      <a:pt x="129550" y="8189"/>
                      <a:pt x="125526" y="5727"/>
                      <a:pt x="120698" y="3834"/>
                    </a:cubicBezTo>
                    <a:cubicBezTo>
                      <a:pt x="116060" y="2035"/>
                      <a:pt x="110758" y="805"/>
                      <a:pt x="102996" y="426"/>
                    </a:cubicBezTo>
                    <a:cubicBezTo>
                      <a:pt x="95233" y="95"/>
                      <a:pt x="92725" y="0"/>
                      <a:pt x="72940" y="0"/>
                    </a:cubicBezTo>
                    <a:lnTo>
                      <a:pt x="72940" y="0"/>
                    </a:lnTo>
                    <a:close/>
                  </a:path>
                </a:pathLst>
              </a:custGeom>
              <a:solidFill>
                <a:schemeClr val="bg1"/>
              </a:solidFill>
              <a:ln w="4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Forme libre : forme 75">
                <a:extLst>
                  <a:ext uri="{FF2B5EF4-FFF2-40B4-BE49-F238E27FC236}">
                    <a16:creationId xmlns:a16="http://schemas.microsoft.com/office/drawing/2014/main" id="{84AABCD4-76CF-4904-9555-F24748BE7331}"/>
                  </a:ext>
                </a:extLst>
              </p:cNvPr>
              <p:cNvSpPr/>
              <p:nvPr/>
            </p:nvSpPr>
            <p:spPr>
              <a:xfrm>
                <a:off x="10827168" y="5697278"/>
                <a:ext cx="74880" cy="74880"/>
              </a:xfrm>
              <a:custGeom>
                <a:avLst/>
                <a:gdLst>
                  <a:gd name="connsiteX0" fmla="*/ 37440 w 74880"/>
                  <a:gd name="connsiteY0" fmla="*/ 0 h 74880"/>
                  <a:gd name="connsiteX1" fmla="*/ 0 w 74880"/>
                  <a:gd name="connsiteY1" fmla="*/ 37440 h 74880"/>
                  <a:gd name="connsiteX2" fmla="*/ 37440 w 74880"/>
                  <a:gd name="connsiteY2" fmla="*/ 74880 h 74880"/>
                  <a:gd name="connsiteX3" fmla="*/ 74880 w 74880"/>
                  <a:gd name="connsiteY3" fmla="*/ 37440 h 74880"/>
                  <a:gd name="connsiteX4" fmla="*/ 37440 w 74880"/>
                  <a:gd name="connsiteY4" fmla="*/ 0 h 74880"/>
                  <a:gd name="connsiteX5" fmla="*/ 37440 w 74880"/>
                  <a:gd name="connsiteY5" fmla="*/ 61722 h 74880"/>
                  <a:gd name="connsiteX6" fmla="*/ 13158 w 74880"/>
                  <a:gd name="connsiteY6" fmla="*/ 37440 h 74880"/>
                  <a:gd name="connsiteX7" fmla="*/ 37440 w 74880"/>
                  <a:gd name="connsiteY7" fmla="*/ 13158 h 74880"/>
                  <a:gd name="connsiteX8" fmla="*/ 61722 w 74880"/>
                  <a:gd name="connsiteY8" fmla="*/ 37440 h 74880"/>
                  <a:gd name="connsiteX9" fmla="*/ 37440 w 74880"/>
                  <a:gd name="connsiteY9" fmla="*/ 61722 h 74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4880" h="74880">
                    <a:moveTo>
                      <a:pt x="37440" y="0"/>
                    </a:moveTo>
                    <a:cubicBezTo>
                      <a:pt x="16756" y="0"/>
                      <a:pt x="0" y="16756"/>
                      <a:pt x="0" y="37440"/>
                    </a:cubicBezTo>
                    <a:cubicBezTo>
                      <a:pt x="0" y="58124"/>
                      <a:pt x="16756" y="74880"/>
                      <a:pt x="37440" y="74880"/>
                    </a:cubicBezTo>
                    <a:cubicBezTo>
                      <a:pt x="58125" y="74880"/>
                      <a:pt x="74880" y="58124"/>
                      <a:pt x="74880" y="37440"/>
                    </a:cubicBezTo>
                    <a:cubicBezTo>
                      <a:pt x="74880" y="16756"/>
                      <a:pt x="58125" y="0"/>
                      <a:pt x="37440" y="0"/>
                    </a:cubicBezTo>
                    <a:close/>
                    <a:moveTo>
                      <a:pt x="37440" y="61722"/>
                    </a:moveTo>
                    <a:cubicBezTo>
                      <a:pt x="23998" y="61722"/>
                      <a:pt x="13158" y="50835"/>
                      <a:pt x="13158" y="37440"/>
                    </a:cubicBezTo>
                    <a:cubicBezTo>
                      <a:pt x="13158" y="23998"/>
                      <a:pt x="24045" y="13158"/>
                      <a:pt x="37440" y="13158"/>
                    </a:cubicBezTo>
                    <a:cubicBezTo>
                      <a:pt x="50883" y="13158"/>
                      <a:pt x="61722" y="24045"/>
                      <a:pt x="61722" y="37440"/>
                    </a:cubicBezTo>
                    <a:cubicBezTo>
                      <a:pt x="61722" y="50882"/>
                      <a:pt x="50883" y="61722"/>
                      <a:pt x="37440" y="61722"/>
                    </a:cubicBezTo>
                    <a:close/>
                  </a:path>
                </a:pathLst>
              </a:custGeom>
              <a:solidFill>
                <a:schemeClr val="bg1"/>
              </a:solidFill>
              <a:ln w="4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Forme libre : forme 76">
                <a:extLst>
                  <a:ext uri="{FF2B5EF4-FFF2-40B4-BE49-F238E27FC236}">
                    <a16:creationId xmlns:a16="http://schemas.microsoft.com/office/drawing/2014/main" id="{A5943540-C79E-493D-9C8E-97C9563AC243}"/>
                  </a:ext>
                </a:extLst>
              </p:cNvPr>
              <p:cNvSpPr/>
              <p:nvPr/>
            </p:nvSpPr>
            <p:spPr>
              <a:xfrm>
                <a:off x="10894759" y="5687054"/>
                <a:ext cx="17513" cy="17513"/>
              </a:xfrm>
              <a:custGeom>
                <a:avLst/>
                <a:gdLst>
                  <a:gd name="connsiteX0" fmla="*/ 17513 w 17513"/>
                  <a:gd name="connsiteY0" fmla="*/ 8757 h 17513"/>
                  <a:gd name="connsiteX1" fmla="*/ 8757 w 17513"/>
                  <a:gd name="connsiteY1" fmla="*/ 17513 h 17513"/>
                  <a:gd name="connsiteX2" fmla="*/ 0 w 17513"/>
                  <a:gd name="connsiteY2" fmla="*/ 8757 h 17513"/>
                  <a:gd name="connsiteX3" fmla="*/ 8757 w 17513"/>
                  <a:gd name="connsiteY3" fmla="*/ 0 h 17513"/>
                  <a:gd name="connsiteX4" fmla="*/ 17513 w 17513"/>
                  <a:gd name="connsiteY4" fmla="*/ 8757 h 17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13" h="17513">
                    <a:moveTo>
                      <a:pt x="17513" y="8757"/>
                    </a:moveTo>
                    <a:cubicBezTo>
                      <a:pt x="17513" y="13593"/>
                      <a:pt x="13593" y="17513"/>
                      <a:pt x="8757" y="17513"/>
                    </a:cubicBezTo>
                    <a:cubicBezTo>
                      <a:pt x="3920" y="17513"/>
                      <a:pt x="0" y="13593"/>
                      <a:pt x="0" y="8757"/>
                    </a:cubicBezTo>
                    <a:cubicBezTo>
                      <a:pt x="0" y="3920"/>
                      <a:pt x="3920" y="0"/>
                      <a:pt x="8757" y="0"/>
                    </a:cubicBezTo>
                    <a:cubicBezTo>
                      <a:pt x="13593" y="0"/>
                      <a:pt x="17513" y="3920"/>
                      <a:pt x="17513" y="8757"/>
                    </a:cubicBezTo>
                    <a:close/>
                  </a:path>
                </a:pathLst>
              </a:custGeom>
              <a:solidFill>
                <a:schemeClr val="bg1"/>
              </a:solidFill>
              <a:ln w="4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6317C303-D508-4179-B7A9-7FD29DF80C9F}"/>
                </a:ext>
              </a:extLst>
            </p:cNvPr>
            <p:cNvSpPr/>
            <p:nvPr/>
          </p:nvSpPr>
          <p:spPr>
            <a:xfrm>
              <a:off x="9837772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58 w 289676"/>
                <a:gd name="connsiteY5" fmla="*/ 144838 h 289675"/>
                <a:gd name="connsiteX6" fmla="*/ 144838 w 289676"/>
                <a:gd name="connsiteY6" fmla="*/ 13158 h 289675"/>
                <a:gd name="connsiteX7" fmla="*/ 276518 w 289676"/>
                <a:gd name="connsiteY7" fmla="*/ 144838 h 289675"/>
                <a:gd name="connsiteX8" fmla="*/ 144838 w 289676"/>
                <a:gd name="connsiteY8" fmla="*/ 276517 h 289675"/>
                <a:gd name="connsiteX9" fmla="*/ 13158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6"/>
                    <a:pt x="224830" y="0"/>
                    <a:pt x="144838" y="0"/>
                  </a:cubicBezTo>
                  <a:cubicBezTo>
                    <a:pt x="64846" y="0"/>
                    <a:pt x="0" y="64846"/>
                    <a:pt x="0" y="144838"/>
                  </a:cubicBezTo>
                  <a:cubicBezTo>
                    <a:pt x="0" y="224829"/>
                    <a:pt x="64846" y="289675"/>
                    <a:pt x="144838" y="289675"/>
                  </a:cubicBezTo>
                  <a:cubicBezTo>
                    <a:pt x="224830" y="289675"/>
                    <a:pt x="289676" y="224829"/>
                    <a:pt x="289676" y="144838"/>
                  </a:cubicBezTo>
                  <a:close/>
                  <a:moveTo>
                    <a:pt x="13158" y="144838"/>
                  </a:moveTo>
                  <a:cubicBezTo>
                    <a:pt x="13158" y="72135"/>
                    <a:pt x="72135" y="13158"/>
                    <a:pt x="144838" y="13158"/>
                  </a:cubicBezTo>
                  <a:cubicBezTo>
                    <a:pt x="217541" y="13158"/>
                    <a:pt x="276518" y="72135"/>
                    <a:pt x="276518" y="144838"/>
                  </a:cubicBezTo>
                  <a:cubicBezTo>
                    <a:pt x="276518" y="217540"/>
                    <a:pt x="217541" y="276517"/>
                    <a:pt x="144838" y="276517"/>
                  </a:cubicBezTo>
                  <a:cubicBezTo>
                    <a:pt x="72135" y="276517"/>
                    <a:pt x="13158" y="217540"/>
                    <a:pt x="13158" y="144838"/>
                  </a:cubicBezTo>
                  <a:close/>
                </a:path>
              </a:pathLst>
            </a:custGeom>
            <a:solidFill>
              <a:schemeClr val="bg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D50DFF36-B657-4FC8-91E2-010F0DC818EE}"/>
                </a:ext>
              </a:extLst>
            </p:cNvPr>
            <p:cNvSpPr/>
            <p:nvPr/>
          </p:nvSpPr>
          <p:spPr>
            <a:xfrm>
              <a:off x="9925810" y="5667979"/>
              <a:ext cx="124484" cy="118946"/>
            </a:xfrm>
            <a:custGeom>
              <a:avLst/>
              <a:gdLst>
                <a:gd name="connsiteX0" fmla="*/ 124485 w 124484"/>
                <a:gd name="connsiteY0" fmla="*/ 72939 h 118946"/>
                <a:gd name="connsiteX1" fmla="*/ 124485 w 124484"/>
                <a:gd name="connsiteY1" fmla="*/ 118947 h 118946"/>
                <a:gd name="connsiteX2" fmla="*/ 97789 w 124484"/>
                <a:gd name="connsiteY2" fmla="*/ 118947 h 118946"/>
                <a:gd name="connsiteX3" fmla="*/ 97789 w 124484"/>
                <a:gd name="connsiteY3" fmla="*/ 76016 h 118946"/>
                <a:gd name="connsiteX4" fmla="*/ 84252 w 124484"/>
                <a:gd name="connsiteY4" fmla="*/ 57888 h 118946"/>
                <a:gd name="connsiteX5" fmla="*/ 70573 w 124484"/>
                <a:gd name="connsiteY5" fmla="*/ 67638 h 118946"/>
                <a:gd name="connsiteX6" fmla="*/ 69674 w 124484"/>
                <a:gd name="connsiteY6" fmla="*/ 74123 h 118946"/>
                <a:gd name="connsiteX7" fmla="*/ 69674 w 124484"/>
                <a:gd name="connsiteY7" fmla="*/ 118947 h 118946"/>
                <a:gd name="connsiteX8" fmla="*/ 42978 w 124484"/>
                <a:gd name="connsiteY8" fmla="*/ 118947 h 118946"/>
                <a:gd name="connsiteX9" fmla="*/ 42978 w 124484"/>
                <a:gd name="connsiteY9" fmla="*/ 38671 h 118946"/>
                <a:gd name="connsiteX10" fmla="*/ 69674 w 124484"/>
                <a:gd name="connsiteY10" fmla="*/ 38671 h 118946"/>
                <a:gd name="connsiteX11" fmla="*/ 69674 w 124484"/>
                <a:gd name="connsiteY11" fmla="*/ 50030 h 118946"/>
                <a:gd name="connsiteX12" fmla="*/ 69484 w 124484"/>
                <a:gd name="connsiteY12" fmla="*/ 50267 h 118946"/>
                <a:gd name="connsiteX13" fmla="*/ 69674 w 124484"/>
                <a:gd name="connsiteY13" fmla="*/ 50267 h 118946"/>
                <a:gd name="connsiteX14" fmla="*/ 69674 w 124484"/>
                <a:gd name="connsiteY14" fmla="*/ 50030 h 118946"/>
                <a:gd name="connsiteX15" fmla="*/ 93719 w 124484"/>
                <a:gd name="connsiteY15" fmla="*/ 36777 h 118946"/>
                <a:gd name="connsiteX16" fmla="*/ 124485 w 124484"/>
                <a:gd name="connsiteY16" fmla="*/ 72939 h 118946"/>
                <a:gd name="connsiteX17" fmla="*/ 15099 w 124484"/>
                <a:gd name="connsiteY17" fmla="*/ 0 h 118946"/>
                <a:gd name="connsiteX18" fmla="*/ 0 w 124484"/>
                <a:gd name="connsiteY18" fmla="*/ 13868 h 118946"/>
                <a:gd name="connsiteX19" fmla="*/ 14768 w 124484"/>
                <a:gd name="connsiteY19" fmla="*/ 27737 h 118946"/>
                <a:gd name="connsiteX20" fmla="*/ 14957 w 124484"/>
                <a:gd name="connsiteY20" fmla="*/ 27737 h 118946"/>
                <a:gd name="connsiteX21" fmla="*/ 30056 w 124484"/>
                <a:gd name="connsiteY21" fmla="*/ 13868 h 118946"/>
                <a:gd name="connsiteX22" fmla="*/ 15099 w 124484"/>
                <a:gd name="connsiteY22" fmla="*/ 0 h 118946"/>
                <a:gd name="connsiteX23" fmla="*/ 1609 w 124484"/>
                <a:gd name="connsiteY23" fmla="*/ 118947 h 118946"/>
                <a:gd name="connsiteX24" fmla="*/ 28305 w 124484"/>
                <a:gd name="connsiteY24" fmla="*/ 118947 h 118946"/>
                <a:gd name="connsiteX25" fmla="*/ 28305 w 124484"/>
                <a:gd name="connsiteY25" fmla="*/ 38671 h 118946"/>
                <a:gd name="connsiteX26" fmla="*/ 1609 w 124484"/>
                <a:gd name="connsiteY26" fmla="*/ 38671 h 118946"/>
                <a:gd name="connsiteX27" fmla="*/ 1609 w 124484"/>
                <a:gd name="connsiteY27" fmla="*/ 118947 h 11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24484" h="118946">
                  <a:moveTo>
                    <a:pt x="124485" y="72939"/>
                  </a:moveTo>
                  <a:lnTo>
                    <a:pt x="124485" y="118947"/>
                  </a:lnTo>
                  <a:lnTo>
                    <a:pt x="97789" y="118947"/>
                  </a:lnTo>
                  <a:lnTo>
                    <a:pt x="97789" y="76016"/>
                  </a:lnTo>
                  <a:cubicBezTo>
                    <a:pt x="97789" y="65224"/>
                    <a:pt x="93908" y="57888"/>
                    <a:pt x="84252" y="57888"/>
                  </a:cubicBezTo>
                  <a:cubicBezTo>
                    <a:pt x="76868" y="57888"/>
                    <a:pt x="72514" y="62858"/>
                    <a:pt x="70573" y="67638"/>
                  </a:cubicBezTo>
                  <a:cubicBezTo>
                    <a:pt x="69863" y="69342"/>
                    <a:pt x="69674" y="71756"/>
                    <a:pt x="69674" y="74123"/>
                  </a:cubicBezTo>
                  <a:lnTo>
                    <a:pt x="69674" y="118947"/>
                  </a:lnTo>
                  <a:lnTo>
                    <a:pt x="42978" y="118947"/>
                  </a:lnTo>
                  <a:cubicBezTo>
                    <a:pt x="42978" y="118947"/>
                    <a:pt x="43357" y="46244"/>
                    <a:pt x="42978" y="38671"/>
                  </a:cubicBezTo>
                  <a:lnTo>
                    <a:pt x="69674" y="38671"/>
                  </a:lnTo>
                  <a:lnTo>
                    <a:pt x="69674" y="50030"/>
                  </a:lnTo>
                  <a:cubicBezTo>
                    <a:pt x="69626" y="50125"/>
                    <a:pt x="69532" y="50220"/>
                    <a:pt x="69484" y="50267"/>
                  </a:cubicBezTo>
                  <a:lnTo>
                    <a:pt x="69674" y="50267"/>
                  </a:lnTo>
                  <a:lnTo>
                    <a:pt x="69674" y="50030"/>
                  </a:lnTo>
                  <a:cubicBezTo>
                    <a:pt x="73224" y="44587"/>
                    <a:pt x="79566" y="36777"/>
                    <a:pt x="93719" y="36777"/>
                  </a:cubicBezTo>
                  <a:cubicBezTo>
                    <a:pt x="111326" y="36825"/>
                    <a:pt x="124485" y="48279"/>
                    <a:pt x="124485" y="72939"/>
                  </a:cubicBezTo>
                  <a:close/>
                  <a:moveTo>
                    <a:pt x="15099" y="0"/>
                  </a:moveTo>
                  <a:cubicBezTo>
                    <a:pt x="5964" y="0"/>
                    <a:pt x="0" y="6011"/>
                    <a:pt x="0" y="13868"/>
                  </a:cubicBezTo>
                  <a:cubicBezTo>
                    <a:pt x="0" y="21584"/>
                    <a:pt x="5822" y="27737"/>
                    <a:pt x="14768" y="27737"/>
                  </a:cubicBezTo>
                  <a:lnTo>
                    <a:pt x="14957" y="27737"/>
                  </a:lnTo>
                  <a:cubicBezTo>
                    <a:pt x="24282" y="27737"/>
                    <a:pt x="30056" y="21584"/>
                    <a:pt x="30056" y="13868"/>
                  </a:cubicBezTo>
                  <a:cubicBezTo>
                    <a:pt x="29867" y="6011"/>
                    <a:pt x="24234" y="0"/>
                    <a:pt x="15099" y="0"/>
                  </a:cubicBezTo>
                  <a:close/>
                  <a:moveTo>
                    <a:pt x="1609" y="118947"/>
                  </a:moveTo>
                  <a:lnTo>
                    <a:pt x="28305" y="118947"/>
                  </a:lnTo>
                  <a:lnTo>
                    <a:pt x="28305" y="38671"/>
                  </a:lnTo>
                  <a:lnTo>
                    <a:pt x="1609" y="38671"/>
                  </a:lnTo>
                  <a:lnTo>
                    <a:pt x="1609" y="118947"/>
                  </a:lnTo>
                  <a:close/>
                </a:path>
              </a:pathLst>
            </a:custGeom>
            <a:solidFill>
              <a:schemeClr val="bg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580A0934-880E-4991-A936-64635D4E164D}"/>
                </a:ext>
              </a:extLst>
            </p:cNvPr>
            <p:cNvSpPr/>
            <p:nvPr/>
          </p:nvSpPr>
          <p:spPr>
            <a:xfrm>
              <a:off x="10278534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58 w 289676"/>
                <a:gd name="connsiteY5" fmla="*/ 144838 h 289675"/>
                <a:gd name="connsiteX6" fmla="*/ 144838 w 289676"/>
                <a:gd name="connsiteY6" fmla="*/ 13158 h 289675"/>
                <a:gd name="connsiteX7" fmla="*/ 276518 w 289676"/>
                <a:gd name="connsiteY7" fmla="*/ 144838 h 289675"/>
                <a:gd name="connsiteX8" fmla="*/ 144838 w 289676"/>
                <a:gd name="connsiteY8" fmla="*/ 276517 h 289675"/>
                <a:gd name="connsiteX9" fmla="*/ 13158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6"/>
                    <a:pt x="224830" y="0"/>
                    <a:pt x="144838" y="0"/>
                  </a:cubicBezTo>
                  <a:cubicBezTo>
                    <a:pt x="64846" y="0"/>
                    <a:pt x="0" y="64846"/>
                    <a:pt x="0" y="144838"/>
                  </a:cubicBezTo>
                  <a:cubicBezTo>
                    <a:pt x="0" y="224829"/>
                    <a:pt x="64846" y="289675"/>
                    <a:pt x="144838" y="289675"/>
                  </a:cubicBezTo>
                  <a:cubicBezTo>
                    <a:pt x="224830" y="289675"/>
                    <a:pt x="289676" y="224829"/>
                    <a:pt x="289676" y="144838"/>
                  </a:cubicBezTo>
                  <a:close/>
                  <a:moveTo>
                    <a:pt x="13158" y="144838"/>
                  </a:moveTo>
                  <a:cubicBezTo>
                    <a:pt x="13158" y="72135"/>
                    <a:pt x="72135" y="13158"/>
                    <a:pt x="144838" y="13158"/>
                  </a:cubicBezTo>
                  <a:cubicBezTo>
                    <a:pt x="217541" y="13158"/>
                    <a:pt x="276518" y="72135"/>
                    <a:pt x="276518" y="144838"/>
                  </a:cubicBezTo>
                  <a:cubicBezTo>
                    <a:pt x="276518" y="217540"/>
                    <a:pt x="217541" y="276517"/>
                    <a:pt x="144838" y="276517"/>
                  </a:cubicBezTo>
                  <a:cubicBezTo>
                    <a:pt x="72135" y="276517"/>
                    <a:pt x="13158" y="217540"/>
                    <a:pt x="13158" y="144838"/>
                  </a:cubicBezTo>
                  <a:close/>
                </a:path>
              </a:pathLst>
            </a:custGeom>
            <a:solidFill>
              <a:schemeClr val="bg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D9F8559F-8233-409B-8E29-E826578588DA}"/>
                </a:ext>
              </a:extLst>
            </p:cNvPr>
            <p:cNvSpPr/>
            <p:nvPr/>
          </p:nvSpPr>
          <p:spPr>
            <a:xfrm>
              <a:off x="10350290" y="5683505"/>
              <a:ext cx="148529" cy="104604"/>
            </a:xfrm>
            <a:custGeom>
              <a:avLst/>
              <a:gdLst>
                <a:gd name="connsiteX0" fmla="*/ 145406 w 148529"/>
                <a:gd name="connsiteY0" fmla="*/ 16330 h 104604"/>
                <a:gd name="connsiteX1" fmla="*/ 132295 w 148529"/>
                <a:gd name="connsiteY1" fmla="*/ 3124 h 104604"/>
                <a:gd name="connsiteX2" fmla="*/ 74265 w 148529"/>
                <a:gd name="connsiteY2" fmla="*/ 0 h 104604"/>
                <a:gd name="connsiteX3" fmla="*/ 16235 w 148529"/>
                <a:gd name="connsiteY3" fmla="*/ 3124 h 104604"/>
                <a:gd name="connsiteX4" fmla="*/ 3124 w 148529"/>
                <a:gd name="connsiteY4" fmla="*/ 16330 h 104604"/>
                <a:gd name="connsiteX5" fmla="*/ 0 w 148529"/>
                <a:gd name="connsiteY5" fmla="*/ 52302 h 104604"/>
                <a:gd name="connsiteX6" fmla="*/ 3124 w 148529"/>
                <a:gd name="connsiteY6" fmla="*/ 88275 h 104604"/>
                <a:gd name="connsiteX7" fmla="*/ 16235 w 148529"/>
                <a:gd name="connsiteY7" fmla="*/ 101481 h 104604"/>
                <a:gd name="connsiteX8" fmla="*/ 74265 w 148529"/>
                <a:gd name="connsiteY8" fmla="*/ 104605 h 104604"/>
                <a:gd name="connsiteX9" fmla="*/ 132295 w 148529"/>
                <a:gd name="connsiteY9" fmla="*/ 101481 h 104604"/>
                <a:gd name="connsiteX10" fmla="*/ 145406 w 148529"/>
                <a:gd name="connsiteY10" fmla="*/ 88275 h 104604"/>
                <a:gd name="connsiteX11" fmla="*/ 148530 w 148529"/>
                <a:gd name="connsiteY11" fmla="*/ 52302 h 104604"/>
                <a:gd name="connsiteX12" fmla="*/ 145406 w 148529"/>
                <a:gd name="connsiteY12" fmla="*/ 16330 h 104604"/>
                <a:gd name="connsiteX13" fmla="*/ 59071 w 148529"/>
                <a:gd name="connsiteY13" fmla="*/ 74407 h 104604"/>
                <a:gd name="connsiteX14" fmla="*/ 59071 w 148529"/>
                <a:gd name="connsiteY14" fmla="*/ 30245 h 104604"/>
                <a:gd name="connsiteX15" fmla="*/ 97884 w 148529"/>
                <a:gd name="connsiteY15" fmla="*/ 52302 h 104604"/>
                <a:gd name="connsiteX16" fmla="*/ 59071 w 148529"/>
                <a:gd name="connsiteY16" fmla="*/ 74407 h 104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8529" h="104604">
                  <a:moveTo>
                    <a:pt x="145406" y="16330"/>
                  </a:moveTo>
                  <a:cubicBezTo>
                    <a:pt x="143702" y="9892"/>
                    <a:pt x="138685" y="4828"/>
                    <a:pt x="132295" y="3124"/>
                  </a:cubicBezTo>
                  <a:cubicBezTo>
                    <a:pt x="120698" y="0"/>
                    <a:pt x="74265" y="0"/>
                    <a:pt x="74265" y="0"/>
                  </a:cubicBezTo>
                  <a:cubicBezTo>
                    <a:pt x="74265" y="0"/>
                    <a:pt x="27832" y="0"/>
                    <a:pt x="16235" y="3124"/>
                  </a:cubicBezTo>
                  <a:cubicBezTo>
                    <a:pt x="9845" y="4828"/>
                    <a:pt x="4828" y="9892"/>
                    <a:pt x="3124" y="16330"/>
                  </a:cubicBezTo>
                  <a:cubicBezTo>
                    <a:pt x="0" y="27974"/>
                    <a:pt x="0" y="52302"/>
                    <a:pt x="0" y="52302"/>
                  </a:cubicBezTo>
                  <a:cubicBezTo>
                    <a:pt x="0" y="52302"/>
                    <a:pt x="0" y="76631"/>
                    <a:pt x="3124" y="88275"/>
                  </a:cubicBezTo>
                  <a:cubicBezTo>
                    <a:pt x="4828" y="94712"/>
                    <a:pt x="9845" y="99777"/>
                    <a:pt x="16235" y="101481"/>
                  </a:cubicBezTo>
                  <a:cubicBezTo>
                    <a:pt x="27832" y="104605"/>
                    <a:pt x="74265" y="104605"/>
                    <a:pt x="74265" y="104605"/>
                  </a:cubicBezTo>
                  <a:cubicBezTo>
                    <a:pt x="74265" y="104605"/>
                    <a:pt x="120698" y="104605"/>
                    <a:pt x="132295" y="101481"/>
                  </a:cubicBezTo>
                  <a:cubicBezTo>
                    <a:pt x="138685" y="99777"/>
                    <a:pt x="143702" y="94712"/>
                    <a:pt x="145406" y="88275"/>
                  </a:cubicBezTo>
                  <a:cubicBezTo>
                    <a:pt x="148530" y="76631"/>
                    <a:pt x="148530" y="52302"/>
                    <a:pt x="148530" y="52302"/>
                  </a:cubicBezTo>
                  <a:cubicBezTo>
                    <a:pt x="148530" y="52302"/>
                    <a:pt x="148483" y="28021"/>
                    <a:pt x="145406" y="16330"/>
                  </a:cubicBezTo>
                  <a:close/>
                  <a:moveTo>
                    <a:pt x="59071" y="74407"/>
                  </a:moveTo>
                  <a:lnTo>
                    <a:pt x="59071" y="30245"/>
                  </a:lnTo>
                  <a:lnTo>
                    <a:pt x="97884" y="52302"/>
                  </a:lnTo>
                  <a:lnTo>
                    <a:pt x="59071" y="74407"/>
                  </a:lnTo>
                  <a:close/>
                </a:path>
              </a:pathLst>
            </a:custGeom>
            <a:solidFill>
              <a:schemeClr val="bg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5E4C0F2E-6AD1-4669-8BBC-6076B48E49FF}"/>
                </a:ext>
              </a:extLst>
            </p:cNvPr>
            <p:cNvSpPr/>
            <p:nvPr/>
          </p:nvSpPr>
          <p:spPr>
            <a:xfrm>
              <a:off x="10719297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58 w 289676"/>
                <a:gd name="connsiteY5" fmla="*/ 144838 h 289675"/>
                <a:gd name="connsiteX6" fmla="*/ 144838 w 289676"/>
                <a:gd name="connsiteY6" fmla="*/ 13158 h 289675"/>
                <a:gd name="connsiteX7" fmla="*/ 276518 w 289676"/>
                <a:gd name="connsiteY7" fmla="*/ 144838 h 289675"/>
                <a:gd name="connsiteX8" fmla="*/ 144838 w 289676"/>
                <a:gd name="connsiteY8" fmla="*/ 276517 h 289675"/>
                <a:gd name="connsiteX9" fmla="*/ 13158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6"/>
                    <a:pt x="224830" y="0"/>
                    <a:pt x="144838" y="0"/>
                  </a:cubicBezTo>
                  <a:cubicBezTo>
                    <a:pt x="64846" y="0"/>
                    <a:pt x="0" y="64846"/>
                    <a:pt x="0" y="144838"/>
                  </a:cubicBezTo>
                  <a:cubicBezTo>
                    <a:pt x="0" y="224829"/>
                    <a:pt x="64846" y="289675"/>
                    <a:pt x="144838" y="289675"/>
                  </a:cubicBezTo>
                  <a:cubicBezTo>
                    <a:pt x="224830" y="289675"/>
                    <a:pt x="289676" y="224829"/>
                    <a:pt x="289676" y="144838"/>
                  </a:cubicBezTo>
                  <a:close/>
                  <a:moveTo>
                    <a:pt x="13158" y="144838"/>
                  </a:moveTo>
                  <a:cubicBezTo>
                    <a:pt x="13158" y="72135"/>
                    <a:pt x="72135" y="13158"/>
                    <a:pt x="144838" y="13158"/>
                  </a:cubicBezTo>
                  <a:cubicBezTo>
                    <a:pt x="217541" y="13158"/>
                    <a:pt x="276518" y="72135"/>
                    <a:pt x="276518" y="144838"/>
                  </a:cubicBezTo>
                  <a:cubicBezTo>
                    <a:pt x="276518" y="217540"/>
                    <a:pt x="217541" y="276517"/>
                    <a:pt x="144838" y="276517"/>
                  </a:cubicBezTo>
                  <a:cubicBezTo>
                    <a:pt x="72135" y="276517"/>
                    <a:pt x="13158" y="217540"/>
                    <a:pt x="13158" y="144838"/>
                  </a:cubicBezTo>
                  <a:close/>
                </a:path>
              </a:pathLst>
            </a:custGeom>
            <a:solidFill>
              <a:schemeClr val="bg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7" name="Forme libre : forme 66">
              <a:extLst>
                <a:ext uri="{FF2B5EF4-FFF2-40B4-BE49-F238E27FC236}">
                  <a16:creationId xmlns:a16="http://schemas.microsoft.com/office/drawing/2014/main" id="{4EEC8C9F-4890-4388-96AD-105DC08600FA}"/>
                </a:ext>
              </a:extLst>
            </p:cNvPr>
            <p:cNvSpPr/>
            <p:nvPr/>
          </p:nvSpPr>
          <p:spPr>
            <a:xfrm>
              <a:off x="9463871" y="5667392"/>
              <a:ext cx="155965" cy="133701"/>
            </a:xfrm>
            <a:custGeom>
              <a:avLst/>
              <a:gdLst>
                <a:gd name="connsiteX0" fmla="*/ 140086 w 155965"/>
                <a:gd name="connsiteY0" fmla="*/ 38057 h 133701"/>
                <a:gd name="connsiteX1" fmla="*/ 139994 w 155965"/>
                <a:gd name="connsiteY1" fmla="*/ 33712 h 133701"/>
                <a:gd name="connsiteX2" fmla="*/ 155965 w 155965"/>
                <a:gd name="connsiteY2" fmla="*/ 16542 h 133701"/>
                <a:gd name="connsiteX3" fmla="*/ 137584 w 155965"/>
                <a:gd name="connsiteY3" fmla="*/ 21572 h 133701"/>
                <a:gd name="connsiteX4" fmla="*/ 151660 w 155965"/>
                <a:gd name="connsiteY4" fmla="*/ 3191 h 133701"/>
                <a:gd name="connsiteX5" fmla="*/ 131343 w 155965"/>
                <a:gd name="connsiteY5" fmla="*/ 11025 h 133701"/>
                <a:gd name="connsiteX6" fmla="*/ 107984 w 155965"/>
                <a:gd name="connsiteY6" fmla="*/ 4 h 133701"/>
                <a:gd name="connsiteX7" fmla="*/ 75988 w 155965"/>
                <a:gd name="connsiteY7" fmla="*/ 33356 h 133701"/>
                <a:gd name="connsiteX8" fmla="*/ 76817 w 155965"/>
                <a:gd name="connsiteY8" fmla="*/ 41085 h 133701"/>
                <a:gd name="connsiteX9" fmla="*/ 10850 w 155965"/>
                <a:gd name="connsiteY9" fmla="*/ 4639 h 133701"/>
                <a:gd name="connsiteX10" fmla="*/ 6518 w 155965"/>
                <a:gd name="connsiteY10" fmla="*/ 21756 h 133701"/>
                <a:gd name="connsiteX11" fmla="*/ 20752 w 155965"/>
                <a:gd name="connsiteY11" fmla="*/ 50355 h 133701"/>
                <a:gd name="connsiteX12" fmla="*/ 6255 w 155965"/>
                <a:gd name="connsiteY12" fmla="*/ 45918 h 133701"/>
                <a:gd name="connsiteX13" fmla="*/ 6255 w 155965"/>
                <a:gd name="connsiteY13" fmla="*/ 46352 h 133701"/>
                <a:gd name="connsiteX14" fmla="*/ 31931 w 155965"/>
                <a:gd name="connsiteY14" fmla="*/ 80033 h 133701"/>
                <a:gd name="connsiteX15" fmla="*/ 23504 w 155965"/>
                <a:gd name="connsiteY15" fmla="*/ 81179 h 133701"/>
                <a:gd name="connsiteX16" fmla="*/ 17486 w 155965"/>
                <a:gd name="connsiteY16" fmla="*/ 80521 h 133701"/>
                <a:gd name="connsiteX17" fmla="*/ 47375 w 155965"/>
                <a:gd name="connsiteY17" fmla="*/ 104340 h 133701"/>
                <a:gd name="connsiteX18" fmla="*/ 7637 w 155965"/>
                <a:gd name="connsiteY18" fmla="*/ 118810 h 133701"/>
                <a:gd name="connsiteX19" fmla="*/ 0 w 155965"/>
                <a:gd name="connsiteY19" fmla="*/ 118323 h 133701"/>
                <a:gd name="connsiteX20" fmla="*/ 49060 w 155965"/>
                <a:gd name="connsiteY20" fmla="*/ 133702 h 133701"/>
                <a:gd name="connsiteX21" fmla="*/ 140086 w 155965"/>
                <a:gd name="connsiteY21" fmla="*/ 38057 h 133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5965" h="133701">
                  <a:moveTo>
                    <a:pt x="140086" y="38057"/>
                  </a:moveTo>
                  <a:cubicBezTo>
                    <a:pt x="140086" y="36595"/>
                    <a:pt x="140059" y="35147"/>
                    <a:pt x="139994" y="33712"/>
                  </a:cubicBezTo>
                  <a:cubicBezTo>
                    <a:pt x="146248" y="29051"/>
                    <a:pt x="151673" y="23218"/>
                    <a:pt x="155965" y="16542"/>
                  </a:cubicBezTo>
                  <a:cubicBezTo>
                    <a:pt x="150224" y="19123"/>
                    <a:pt x="144062" y="20848"/>
                    <a:pt x="137584" y="21572"/>
                  </a:cubicBezTo>
                  <a:cubicBezTo>
                    <a:pt x="144194" y="17503"/>
                    <a:pt x="149263" y="10999"/>
                    <a:pt x="151660" y="3191"/>
                  </a:cubicBezTo>
                  <a:cubicBezTo>
                    <a:pt x="145471" y="6943"/>
                    <a:pt x="138624" y="9629"/>
                    <a:pt x="131343" y="11025"/>
                  </a:cubicBezTo>
                  <a:cubicBezTo>
                    <a:pt x="125510" y="4389"/>
                    <a:pt x="117188" y="162"/>
                    <a:pt x="107984" y="4"/>
                  </a:cubicBezTo>
                  <a:cubicBezTo>
                    <a:pt x="90314" y="-286"/>
                    <a:pt x="75988" y="14646"/>
                    <a:pt x="75988" y="33356"/>
                  </a:cubicBezTo>
                  <a:cubicBezTo>
                    <a:pt x="75988" y="36016"/>
                    <a:pt x="76264" y="38597"/>
                    <a:pt x="76817" y="41085"/>
                  </a:cubicBezTo>
                  <a:cubicBezTo>
                    <a:pt x="50207" y="39373"/>
                    <a:pt x="26625" y="25522"/>
                    <a:pt x="10850" y="4639"/>
                  </a:cubicBezTo>
                  <a:cubicBezTo>
                    <a:pt x="8098" y="9642"/>
                    <a:pt x="6518" y="15489"/>
                    <a:pt x="6518" y="21756"/>
                  </a:cubicBezTo>
                  <a:cubicBezTo>
                    <a:pt x="6518" y="33607"/>
                    <a:pt x="12167" y="44140"/>
                    <a:pt x="20752" y="50355"/>
                  </a:cubicBezTo>
                  <a:cubicBezTo>
                    <a:pt x="15498" y="50118"/>
                    <a:pt x="10574" y="48525"/>
                    <a:pt x="6255" y="45918"/>
                  </a:cubicBezTo>
                  <a:cubicBezTo>
                    <a:pt x="6255" y="46062"/>
                    <a:pt x="6255" y="46207"/>
                    <a:pt x="6255" y="46352"/>
                  </a:cubicBezTo>
                  <a:cubicBezTo>
                    <a:pt x="6255" y="62917"/>
                    <a:pt x="17289" y="76795"/>
                    <a:pt x="31931" y="80033"/>
                  </a:cubicBezTo>
                  <a:cubicBezTo>
                    <a:pt x="29244" y="80797"/>
                    <a:pt x="26414" y="81192"/>
                    <a:pt x="23504" y="81179"/>
                  </a:cubicBezTo>
                  <a:cubicBezTo>
                    <a:pt x="21436" y="81166"/>
                    <a:pt x="19435" y="80942"/>
                    <a:pt x="17486" y="80521"/>
                  </a:cubicBezTo>
                  <a:cubicBezTo>
                    <a:pt x="21555" y="94096"/>
                    <a:pt x="33379" y="104011"/>
                    <a:pt x="47375" y="104340"/>
                  </a:cubicBezTo>
                  <a:cubicBezTo>
                    <a:pt x="36420" y="113425"/>
                    <a:pt x="22621" y="118849"/>
                    <a:pt x="7637" y="118810"/>
                  </a:cubicBezTo>
                  <a:cubicBezTo>
                    <a:pt x="5056" y="118810"/>
                    <a:pt x="2502" y="118639"/>
                    <a:pt x="0" y="118323"/>
                  </a:cubicBezTo>
                  <a:cubicBezTo>
                    <a:pt x="14168" y="128040"/>
                    <a:pt x="30982" y="133702"/>
                    <a:pt x="49060" y="133702"/>
                  </a:cubicBezTo>
                  <a:cubicBezTo>
                    <a:pt x="107905" y="133716"/>
                    <a:pt x="140086" y="82496"/>
                    <a:pt x="140086" y="38057"/>
                  </a:cubicBezTo>
                  <a:close/>
                </a:path>
              </a:pathLst>
            </a:custGeom>
            <a:solidFill>
              <a:schemeClr val="bg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5EC72370-FD03-4BD7-868B-9CFF0C4D2E21}"/>
                </a:ext>
              </a:extLst>
            </p:cNvPr>
            <p:cNvSpPr/>
            <p:nvPr/>
          </p:nvSpPr>
          <p:spPr>
            <a:xfrm>
              <a:off x="9397010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67 w 289676"/>
                <a:gd name="connsiteY5" fmla="*/ 144838 h 289675"/>
                <a:gd name="connsiteX6" fmla="*/ 144838 w 289676"/>
                <a:gd name="connsiteY6" fmla="*/ 13167 h 289675"/>
                <a:gd name="connsiteX7" fmla="*/ 276509 w 289676"/>
                <a:gd name="connsiteY7" fmla="*/ 144838 h 289675"/>
                <a:gd name="connsiteX8" fmla="*/ 144838 w 289676"/>
                <a:gd name="connsiteY8" fmla="*/ 276508 h 289675"/>
                <a:gd name="connsiteX9" fmla="*/ 13167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7"/>
                    <a:pt x="224828" y="0"/>
                    <a:pt x="144838" y="0"/>
                  </a:cubicBezTo>
                  <a:cubicBezTo>
                    <a:pt x="64848" y="0"/>
                    <a:pt x="0" y="64847"/>
                    <a:pt x="0" y="144838"/>
                  </a:cubicBezTo>
                  <a:cubicBezTo>
                    <a:pt x="0" y="224827"/>
                    <a:pt x="64848" y="289675"/>
                    <a:pt x="144838" y="289675"/>
                  </a:cubicBezTo>
                  <a:cubicBezTo>
                    <a:pt x="224828" y="289675"/>
                    <a:pt x="289676" y="224827"/>
                    <a:pt x="289676" y="144838"/>
                  </a:cubicBezTo>
                  <a:close/>
                  <a:moveTo>
                    <a:pt x="13167" y="144838"/>
                  </a:moveTo>
                  <a:cubicBezTo>
                    <a:pt x="13167" y="72116"/>
                    <a:pt x="72116" y="13167"/>
                    <a:pt x="144838" y="13167"/>
                  </a:cubicBezTo>
                  <a:cubicBezTo>
                    <a:pt x="217560" y="13167"/>
                    <a:pt x="276509" y="72116"/>
                    <a:pt x="276509" y="144838"/>
                  </a:cubicBezTo>
                  <a:cubicBezTo>
                    <a:pt x="276509" y="217559"/>
                    <a:pt x="217560" y="276508"/>
                    <a:pt x="144838" y="276508"/>
                  </a:cubicBezTo>
                  <a:cubicBezTo>
                    <a:pt x="72116" y="276508"/>
                    <a:pt x="13167" y="217559"/>
                    <a:pt x="13167" y="144838"/>
                  </a:cubicBezTo>
                  <a:close/>
                </a:path>
              </a:pathLst>
            </a:custGeom>
            <a:solidFill>
              <a:schemeClr val="bg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9" name="Forme libre : forme 68">
              <a:extLst>
                <a:ext uri="{FF2B5EF4-FFF2-40B4-BE49-F238E27FC236}">
                  <a16:creationId xmlns:a16="http://schemas.microsoft.com/office/drawing/2014/main" id="{5CEB3EB3-518B-4A1F-BD18-019DC82D80CA}"/>
                </a:ext>
              </a:extLst>
            </p:cNvPr>
            <p:cNvSpPr/>
            <p:nvPr/>
          </p:nvSpPr>
          <p:spPr>
            <a:xfrm>
              <a:off x="9062190" y="5650872"/>
              <a:ext cx="77935" cy="166970"/>
            </a:xfrm>
            <a:custGeom>
              <a:avLst/>
              <a:gdLst>
                <a:gd name="connsiteX0" fmla="*/ 44452 w 77935"/>
                <a:gd name="connsiteY0" fmla="*/ 166971 h 166970"/>
                <a:gd name="connsiteX1" fmla="*/ 44452 w 77935"/>
                <a:gd name="connsiteY1" fmla="*/ 83373 h 166970"/>
                <a:gd name="connsiteX2" fmla="*/ 72037 w 77935"/>
                <a:gd name="connsiteY2" fmla="*/ 83373 h 166970"/>
                <a:gd name="connsiteX3" fmla="*/ 76395 w 77935"/>
                <a:gd name="connsiteY3" fmla="*/ 55670 h 166970"/>
                <a:gd name="connsiteX4" fmla="*/ 44452 w 77935"/>
                <a:gd name="connsiteY4" fmla="*/ 55670 h 166970"/>
                <a:gd name="connsiteX5" fmla="*/ 44452 w 77935"/>
                <a:gd name="connsiteY5" fmla="*/ 41779 h 166970"/>
                <a:gd name="connsiteX6" fmla="*/ 57198 w 77935"/>
                <a:gd name="connsiteY6" fmla="*/ 27651 h 166970"/>
                <a:gd name="connsiteX7" fmla="*/ 77936 w 77935"/>
                <a:gd name="connsiteY7" fmla="*/ 27651 h 166970"/>
                <a:gd name="connsiteX8" fmla="*/ 77936 w 77935"/>
                <a:gd name="connsiteY8" fmla="*/ 0 h 166970"/>
                <a:gd name="connsiteX9" fmla="*/ 48494 w 77935"/>
                <a:gd name="connsiteY9" fmla="*/ 0 h 166970"/>
                <a:gd name="connsiteX10" fmla="*/ 16985 w 77935"/>
                <a:gd name="connsiteY10" fmla="*/ 38895 h 166970"/>
                <a:gd name="connsiteX11" fmla="*/ 16985 w 77935"/>
                <a:gd name="connsiteY11" fmla="*/ 55657 h 166970"/>
                <a:gd name="connsiteX12" fmla="*/ 0 w 77935"/>
                <a:gd name="connsiteY12" fmla="*/ 55657 h 166970"/>
                <a:gd name="connsiteX13" fmla="*/ 0 w 77935"/>
                <a:gd name="connsiteY13" fmla="*/ 83373 h 166970"/>
                <a:gd name="connsiteX14" fmla="*/ 16985 w 77935"/>
                <a:gd name="connsiteY14" fmla="*/ 83373 h 166970"/>
                <a:gd name="connsiteX15" fmla="*/ 16985 w 77935"/>
                <a:gd name="connsiteY15" fmla="*/ 166971 h 166970"/>
                <a:gd name="connsiteX16" fmla="*/ 44452 w 77935"/>
                <a:gd name="connsiteY16" fmla="*/ 166971 h 166970"/>
                <a:gd name="connsiteX17" fmla="*/ 44452 w 77935"/>
                <a:gd name="connsiteY17" fmla="*/ 166971 h 166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935" h="166970">
                  <a:moveTo>
                    <a:pt x="44452" y="166971"/>
                  </a:moveTo>
                  <a:lnTo>
                    <a:pt x="44452" y="83373"/>
                  </a:lnTo>
                  <a:lnTo>
                    <a:pt x="72037" y="83373"/>
                  </a:lnTo>
                  <a:lnTo>
                    <a:pt x="76395" y="55670"/>
                  </a:lnTo>
                  <a:lnTo>
                    <a:pt x="44452" y="55670"/>
                  </a:lnTo>
                  <a:lnTo>
                    <a:pt x="44452" y="41779"/>
                  </a:lnTo>
                  <a:cubicBezTo>
                    <a:pt x="44452" y="34550"/>
                    <a:pt x="46822" y="27651"/>
                    <a:pt x="57198" y="27651"/>
                  </a:cubicBezTo>
                  <a:lnTo>
                    <a:pt x="77936" y="27651"/>
                  </a:lnTo>
                  <a:lnTo>
                    <a:pt x="77936" y="0"/>
                  </a:lnTo>
                  <a:lnTo>
                    <a:pt x="48494" y="0"/>
                  </a:lnTo>
                  <a:cubicBezTo>
                    <a:pt x="23740" y="0"/>
                    <a:pt x="16985" y="16300"/>
                    <a:pt x="16985" y="38895"/>
                  </a:cubicBezTo>
                  <a:lnTo>
                    <a:pt x="16985" y="55657"/>
                  </a:lnTo>
                  <a:lnTo>
                    <a:pt x="0" y="55657"/>
                  </a:lnTo>
                  <a:lnTo>
                    <a:pt x="0" y="83373"/>
                  </a:lnTo>
                  <a:lnTo>
                    <a:pt x="16985" y="83373"/>
                  </a:lnTo>
                  <a:lnTo>
                    <a:pt x="16985" y="166971"/>
                  </a:lnTo>
                  <a:lnTo>
                    <a:pt x="44452" y="166971"/>
                  </a:lnTo>
                  <a:lnTo>
                    <a:pt x="44452" y="166971"/>
                  </a:lnTo>
                  <a:close/>
                </a:path>
              </a:pathLst>
            </a:custGeom>
            <a:solidFill>
              <a:schemeClr val="bg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0" name="Ellipse 69">
              <a:hlinkClick r:id="rId4"/>
              <a:extLst>
                <a:ext uri="{FF2B5EF4-FFF2-40B4-BE49-F238E27FC236}">
                  <a16:creationId xmlns:a16="http://schemas.microsoft.com/office/drawing/2014/main" id="{3C5D10E2-D7C4-4A70-AF86-CFB772CCBF4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54324" y="5587483"/>
              <a:ext cx="291600" cy="29160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1" name="Ellipse 70">
              <a:hlinkClick r:id="rId5"/>
              <a:extLst>
                <a:ext uri="{FF2B5EF4-FFF2-40B4-BE49-F238E27FC236}">
                  <a16:creationId xmlns:a16="http://schemas.microsoft.com/office/drawing/2014/main" id="{2340D18E-F7AB-4375-AB54-5411B64D831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95086" y="5587483"/>
              <a:ext cx="291600" cy="29160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2" name="Ellipse 71">
              <a:hlinkClick r:id="rId6"/>
              <a:extLst>
                <a:ext uri="{FF2B5EF4-FFF2-40B4-BE49-F238E27FC236}">
                  <a16:creationId xmlns:a16="http://schemas.microsoft.com/office/drawing/2014/main" id="{EFA1ED22-B4AB-47A7-B82F-E8FAB34382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835848" y="5587483"/>
              <a:ext cx="291600" cy="29160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3" name="Ellipse 72">
              <a:hlinkClick r:id="rId7"/>
              <a:extLst>
                <a:ext uri="{FF2B5EF4-FFF2-40B4-BE49-F238E27FC236}">
                  <a16:creationId xmlns:a16="http://schemas.microsoft.com/office/drawing/2014/main" id="{53770927-2ED4-48AE-B12A-500B2962F31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76610" y="5587483"/>
              <a:ext cx="291600" cy="29160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4" name="Ellipse 73">
              <a:hlinkClick r:id="rId8"/>
              <a:extLst>
                <a:ext uri="{FF2B5EF4-FFF2-40B4-BE49-F238E27FC236}">
                  <a16:creationId xmlns:a16="http://schemas.microsoft.com/office/drawing/2014/main" id="{9C654710-6DFF-4B05-B0A9-B5F31D6815E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717373" y="5587483"/>
              <a:ext cx="291600" cy="29160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7996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66667E-6 4.81481E-6 L 1.66667E-6 0.05162 " pathEditMode="relative" rAng="0" ptsTypes="AA">
                                      <p:cBhvr>
                                        <p:cTn id="30" dur="75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69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66667E-6 4.81481E-6 L 1.66667E-6 0.05162 " pathEditMode="relative" rAng="0" ptsTypes="AA">
                                      <p:cBhvr>
                                        <p:cTn id="35" dur="75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69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71 -1.48148E-6 L 4.58333E-6 -1.48148E-6 " pathEditMode="relative" rAng="0" ptsTypes="AA">
                                      <p:cBhvr>
                                        <p:cTn id="40" dur="7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3" presetClass="path" presetSubtype="0" decel="100000" fill="hold" grpId="1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45" dur="75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63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50" dur="75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3" presetClass="path" presetSubtype="0" decel="100000" fill="hold" grpId="1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55" dur="7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63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60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63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65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2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63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70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63" presetClass="path" presetSubtype="0" decel="100000" fill="hold" grpId="1" nodeType="withEffect">
                                  <p:stCondLst>
                                    <p:cond delay="3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75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63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80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3" presetClass="path" presetSubtype="0" decel="100000" fill="hold" grpId="1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85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63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90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63" presetClass="path" presetSubtype="0" decel="100000" fill="hold" grpId="1" nodeType="withEffect">
                                  <p:stCondLst>
                                    <p:cond delay="5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95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63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100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63" presetClass="path" presetSubtype="0" decel="100000" fill="hold" grpId="1" nodeType="withEffect">
                                  <p:stCondLst>
                                    <p:cond delay="6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105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110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1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2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3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4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5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6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  <p:bldP spid="52" grpId="0" animBg="1"/>
      <p:bldP spid="52" grpId="1" animBg="1"/>
      <p:bldP spid="53" grpId="0" animBg="1"/>
      <p:bldP spid="53" grpId="1" animBg="1"/>
      <p:bldP spid="54" grpId="0" animBg="1"/>
      <p:bldP spid="54" grpId="1" animBg="1"/>
      <p:bldP spid="55" grpId="0" animBg="1"/>
      <p:bldP spid="55" grpId="1" animBg="1"/>
      <p:bldP spid="56" grpId="0" animBg="1"/>
      <p:bldP spid="56" grpId="1" animBg="1"/>
      <p:bldP spid="57" grpId="0" animBg="1"/>
      <p:bldP spid="57" grpId="1" animBg="1"/>
      <p:bldP spid="4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66BC4245-BA03-49A0-8F2A-4197AD36B856}"/>
              </a:ext>
            </a:extLst>
          </p:cNvPr>
          <p:cNvGrpSpPr/>
          <p:nvPr/>
        </p:nvGrpSpPr>
        <p:grpSpPr>
          <a:xfrm>
            <a:off x="8210465" y="4344970"/>
            <a:ext cx="2732617" cy="690033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AEC613C9-40A6-430C-89CB-CFA7CDA5D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>
                <a:solidFill>
                  <a:schemeClr val="tx2"/>
                </a:solidFill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98EC34D1-2096-487D-8C79-19B26B139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>
                <a:solidFill>
                  <a:schemeClr val="tx2"/>
                </a:solidFill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D27E053C-E8AF-454E-A8C4-68F1484683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>
                <a:solidFill>
                  <a:schemeClr val="tx2"/>
                </a:solidFill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918F532F-621F-4704-B781-E8229AF3B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>
                <a:solidFill>
                  <a:schemeClr val="tx2"/>
                </a:solidFill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183D7BCA-4B96-4452-BAC1-31240E14D6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>
                <a:solidFill>
                  <a:schemeClr val="tx2"/>
                </a:solidFill>
              </a:endParaRPr>
            </a:p>
          </p:txBody>
        </p:sp>
      </p:grpSp>
      <p:sp>
        <p:nvSpPr>
          <p:cNvPr id="100" name="Text Placeholder 3">
            <a:extLst>
              <a:ext uri="{FF2B5EF4-FFF2-40B4-BE49-F238E27FC236}">
                <a16:creationId xmlns:a16="http://schemas.microsoft.com/office/drawing/2014/main" id="{07450D3B-EC70-4364-BB30-3B2CE89BFD0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11396" y="1943763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>
                <a:solidFill>
                  <a:schemeClr val="accent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First name NAME</a:t>
            </a:r>
          </a:p>
        </p:txBody>
      </p:sp>
      <p:sp>
        <p:nvSpPr>
          <p:cNvPr id="101" name="Text Placeholder 3">
            <a:extLst>
              <a:ext uri="{FF2B5EF4-FFF2-40B4-BE49-F238E27FC236}">
                <a16:creationId xmlns:a16="http://schemas.microsoft.com/office/drawing/2014/main" id="{5F1D26DD-44E7-433E-808D-421951D360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11396" y="2163219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accent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Job Title / Service</a:t>
            </a:r>
          </a:p>
        </p:txBody>
      </p:sp>
      <p:sp>
        <p:nvSpPr>
          <p:cNvPr id="102" name="Text Placeholder 3">
            <a:extLst>
              <a:ext uri="{FF2B5EF4-FFF2-40B4-BE49-F238E27FC236}">
                <a16:creationId xmlns:a16="http://schemas.microsoft.com/office/drawing/2014/main" id="{9DB4A80A-3E62-449A-947C-1A1D6F3D02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711396" y="2394867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accent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03" name="Text Placeholder 3">
            <a:extLst>
              <a:ext uri="{FF2B5EF4-FFF2-40B4-BE49-F238E27FC236}">
                <a16:creationId xmlns:a16="http://schemas.microsoft.com/office/drawing/2014/main" id="{FE3637C7-EEAB-4DFD-B6C3-78AEF0139B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11396" y="2736243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accent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firstname.lastname@idemia.com</a:t>
            </a:r>
          </a:p>
        </p:txBody>
      </p:sp>
      <p:sp>
        <p:nvSpPr>
          <p:cNvPr id="104" name="Text Placeholder 3">
            <a:extLst>
              <a:ext uri="{FF2B5EF4-FFF2-40B4-BE49-F238E27FC236}">
                <a16:creationId xmlns:a16="http://schemas.microsoft.com/office/drawing/2014/main" id="{638896C9-6B76-4FB7-9297-9E523CE808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396" y="3065427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accent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P. +33 (0) 00 00 00 00</a:t>
            </a:r>
          </a:p>
        </p:txBody>
      </p:sp>
      <p:sp>
        <p:nvSpPr>
          <p:cNvPr id="105" name="Text Placeholder 3">
            <a:extLst>
              <a:ext uri="{FF2B5EF4-FFF2-40B4-BE49-F238E27FC236}">
                <a16:creationId xmlns:a16="http://schemas.microsoft.com/office/drawing/2014/main" id="{F7CEB460-A4BC-47D4-928D-B0C56B4D58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11396" y="3309267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accent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M. +33 (0) 00 00 00 00</a:t>
            </a: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0C5887BC-1460-4F11-9511-363049C4C8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11396" y="3553107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accent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F. +33 (0) 00 00 00 00</a:t>
            </a:r>
          </a:p>
        </p:txBody>
      </p:sp>
      <p:sp>
        <p:nvSpPr>
          <p:cNvPr id="96" name="Forme libre : forme 95">
            <a:extLst>
              <a:ext uri="{FF2B5EF4-FFF2-40B4-BE49-F238E27FC236}">
                <a16:creationId xmlns:a16="http://schemas.microsoft.com/office/drawing/2014/main" id="{3B8C46DD-6C64-4A9A-992A-9A7CCF117E88}"/>
              </a:ext>
            </a:extLst>
          </p:cNvPr>
          <p:cNvSpPr/>
          <p:nvPr userDrawn="1"/>
        </p:nvSpPr>
        <p:spPr>
          <a:xfrm>
            <a:off x="5347946" y="0"/>
            <a:ext cx="1740267" cy="6858000"/>
          </a:xfrm>
          <a:custGeom>
            <a:avLst/>
            <a:gdLst>
              <a:gd name="connsiteX0" fmla="*/ 4029 w 1740267"/>
              <a:gd name="connsiteY0" fmla="*/ 0 h 6858000"/>
              <a:gd name="connsiteX1" fmla="*/ 75612 w 1740267"/>
              <a:gd name="connsiteY1" fmla="*/ 0 h 6858000"/>
              <a:gd name="connsiteX2" fmla="*/ 1733100 w 1740267"/>
              <a:gd name="connsiteY2" fmla="*/ 3420921 h 6858000"/>
              <a:gd name="connsiteX3" fmla="*/ 1740267 w 1740267"/>
              <a:gd name="connsiteY3" fmla="*/ 3434539 h 6858000"/>
              <a:gd name="connsiteX4" fmla="*/ 1740267 w 1740267"/>
              <a:gd name="connsiteY4" fmla="*/ 3434545 h 6858000"/>
              <a:gd name="connsiteX5" fmla="*/ 71685 w 1740267"/>
              <a:gd name="connsiteY5" fmla="*/ 6858000 h 6858000"/>
              <a:gd name="connsiteX6" fmla="*/ 0 w 1740267"/>
              <a:gd name="connsiteY6" fmla="*/ 6858000 h 6858000"/>
              <a:gd name="connsiteX7" fmla="*/ 1668583 w 1740267"/>
              <a:gd name="connsiteY7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40267" h="6858000">
                <a:moveTo>
                  <a:pt x="4029" y="0"/>
                </a:moveTo>
                <a:lnTo>
                  <a:pt x="75612" y="0"/>
                </a:lnTo>
                <a:lnTo>
                  <a:pt x="1733100" y="3420921"/>
                </a:lnTo>
                <a:lnTo>
                  <a:pt x="1740267" y="3434539"/>
                </a:lnTo>
                <a:lnTo>
                  <a:pt x="1740267" y="3434545"/>
                </a:lnTo>
                <a:lnTo>
                  <a:pt x="71685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/>
              </a:gs>
            </a:gsLst>
            <a:lin ang="1968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4" name="Forme libre : forme 93">
            <a:extLst>
              <a:ext uri="{FF2B5EF4-FFF2-40B4-BE49-F238E27FC236}">
                <a16:creationId xmlns:a16="http://schemas.microsoft.com/office/drawing/2014/main" id="{4CAC1A76-E961-447F-B261-F4C6E6021775}"/>
              </a:ext>
            </a:extLst>
          </p:cNvPr>
          <p:cNvSpPr/>
          <p:nvPr userDrawn="1"/>
        </p:nvSpPr>
        <p:spPr>
          <a:xfrm>
            <a:off x="4905450" y="0"/>
            <a:ext cx="1780385" cy="6858000"/>
          </a:xfrm>
          <a:custGeom>
            <a:avLst/>
            <a:gdLst>
              <a:gd name="connsiteX0" fmla="*/ 4129 w 1780385"/>
              <a:gd name="connsiteY0" fmla="*/ 0 h 6858000"/>
              <a:gd name="connsiteX1" fmla="*/ 115901 w 1780385"/>
              <a:gd name="connsiteY1" fmla="*/ 0 h 6858000"/>
              <a:gd name="connsiteX2" fmla="*/ 1770349 w 1780385"/>
              <a:gd name="connsiteY2" fmla="*/ 3413036 h 6858000"/>
              <a:gd name="connsiteX3" fmla="*/ 1780385 w 1780385"/>
              <a:gd name="connsiteY3" fmla="*/ 3434542 h 6858000"/>
              <a:gd name="connsiteX4" fmla="*/ 111802 w 1780385"/>
              <a:gd name="connsiteY4" fmla="*/ 6858000 h 6858000"/>
              <a:gd name="connsiteX5" fmla="*/ 0 w 1780385"/>
              <a:gd name="connsiteY5" fmla="*/ 6858000 h 6858000"/>
              <a:gd name="connsiteX6" fmla="*/ 1669273 w 1780385"/>
              <a:gd name="connsiteY6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0385" h="6858000">
                <a:moveTo>
                  <a:pt x="4129" y="0"/>
                </a:moveTo>
                <a:lnTo>
                  <a:pt x="115901" y="0"/>
                </a:lnTo>
                <a:lnTo>
                  <a:pt x="1770349" y="3413036"/>
                </a:lnTo>
                <a:lnTo>
                  <a:pt x="1780385" y="3434542"/>
                </a:lnTo>
                <a:lnTo>
                  <a:pt x="111802" y="6858000"/>
                </a:lnTo>
                <a:lnTo>
                  <a:pt x="0" y="6858000"/>
                </a:lnTo>
                <a:lnTo>
                  <a:pt x="166927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/>
              </a:gs>
            </a:gsLst>
            <a:lin ang="1968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2" name="Forme libre : forme 91">
            <a:extLst>
              <a:ext uri="{FF2B5EF4-FFF2-40B4-BE49-F238E27FC236}">
                <a16:creationId xmlns:a16="http://schemas.microsoft.com/office/drawing/2014/main" id="{F53B7F54-F668-4932-8716-5F7CB4DED843}"/>
              </a:ext>
            </a:extLst>
          </p:cNvPr>
          <p:cNvSpPr/>
          <p:nvPr userDrawn="1"/>
        </p:nvSpPr>
        <p:spPr>
          <a:xfrm>
            <a:off x="4394048" y="0"/>
            <a:ext cx="1852097" cy="6858000"/>
          </a:xfrm>
          <a:custGeom>
            <a:avLst/>
            <a:gdLst>
              <a:gd name="connsiteX0" fmla="*/ 4029 w 1852097"/>
              <a:gd name="connsiteY0" fmla="*/ 0 h 6858000"/>
              <a:gd name="connsiteX1" fmla="*/ 187573 w 1852097"/>
              <a:gd name="connsiteY1" fmla="*/ 0 h 6858000"/>
              <a:gd name="connsiteX2" fmla="*/ 1834893 w 1852097"/>
              <a:gd name="connsiteY2" fmla="*/ 3398698 h 6858000"/>
              <a:gd name="connsiteX3" fmla="*/ 1852097 w 1852097"/>
              <a:gd name="connsiteY3" fmla="*/ 3434542 h 6858000"/>
              <a:gd name="connsiteX4" fmla="*/ 183514 w 1852097"/>
              <a:gd name="connsiteY4" fmla="*/ 6858000 h 6858000"/>
              <a:gd name="connsiteX5" fmla="*/ 0 w 1852097"/>
              <a:gd name="connsiteY5" fmla="*/ 6858000 h 6858000"/>
              <a:gd name="connsiteX6" fmla="*/ 1668583 w 1852097"/>
              <a:gd name="connsiteY6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2097" h="6858000">
                <a:moveTo>
                  <a:pt x="4029" y="0"/>
                </a:moveTo>
                <a:lnTo>
                  <a:pt x="187573" y="0"/>
                </a:lnTo>
                <a:lnTo>
                  <a:pt x="1834893" y="3398698"/>
                </a:lnTo>
                <a:lnTo>
                  <a:pt x="1852097" y="3434542"/>
                </a:lnTo>
                <a:lnTo>
                  <a:pt x="183514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/>
              </a:gs>
            </a:gsLst>
            <a:lin ang="1968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0" name="Forme libre : forme 89">
            <a:extLst>
              <a:ext uri="{FF2B5EF4-FFF2-40B4-BE49-F238E27FC236}">
                <a16:creationId xmlns:a16="http://schemas.microsoft.com/office/drawing/2014/main" id="{10E7791D-3455-4997-BCA3-D23E5346308F}"/>
              </a:ext>
            </a:extLst>
          </p:cNvPr>
          <p:cNvSpPr/>
          <p:nvPr userDrawn="1"/>
        </p:nvSpPr>
        <p:spPr>
          <a:xfrm>
            <a:off x="3887350" y="0"/>
            <a:ext cx="1900101" cy="6858000"/>
          </a:xfrm>
          <a:custGeom>
            <a:avLst/>
            <a:gdLst>
              <a:gd name="connsiteX0" fmla="*/ 4131 w 1900101"/>
              <a:gd name="connsiteY0" fmla="*/ 0 h 6858000"/>
              <a:gd name="connsiteX1" fmla="*/ 234959 w 1900101"/>
              <a:gd name="connsiteY1" fmla="*/ 0 h 6858000"/>
              <a:gd name="connsiteX2" fmla="*/ 1900101 w 1900101"/>
              <a:gd name="connsiteY2" fmla="*/ 3434542 h 6858000"/>
              <a:gd name="connsiteX3" fmla="*/ 231518 w 1900101"/>
              <a:gd name="connsiteY3" fmla="*/ 6858000 h 6858000"/>
              <a:gd name="connsiteX4" fmla="*/ 0 w 1900101"/>
              <a:gd name="connsiteY4" fmla="*/ 6858000 h 6858000"/>
              <a:gd name="connsiteX5" fmla="*/ 1669273 w 1900101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00101" h="6858000">
                <a:moveTo>
                  <a:pt x="4131" y="0"/>
                </a:moveTo>
                <a:lnTo>
                  <a:pt x="234959" y="0"/>
                </a:lnTo>
                <a:lnTo>
                  <a:pt x="1900101" y="3434542"/>
                </a:lnTo>
                <a:lnTo>
                  <a:pt x="231518" y="6858000"/>
                </a:lnTo>
                <a:lnTo>
                  <a:pt x="0" y="6858000"/>
                </a:lnTo>
                <a:lnTo>
                  <a:pt x="166927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/>
              </a:gs>
            </a:gsLst>
            <a:lin ang="1968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8" name="Forme libre : forme 87">
            <a:extLst>
              <a:ext uri="{FF2B5EF4-FFF2-40B4-BE49-F238E27FC236}">
                <a16:creationId xmlns:a16="http://schemas.microsoft.com/office/drawing/2014/main" id="{80E58315-E253-4AA9-9E4D-C616B40B07C4}"/>
              </a:ext>
            </a:extLst>
          </p:cNvPr>
          <p:cNvSpPr/>
          <p:nvPr userDrawn="1"/>
        </p:nvSpPr>
        <p:spPr>
          <a:xfrm>
            <a:off x="3425409" y="0"/>
            <a:ext cx="1931668" cy="6858000"/>
          </a:xfrm>
          <a:custGeom>
            <a:avLst/>
            <a:gdLst>
              <a:gd name="connsiteX0" fmla="*/ 4029 w 1931668"/>
              <a:gd name="connsiteY0" fmla="*/ 0 h 6858000"/>
              <a:gd name="connsiteX1" fmla="*/ 266526 w 1931668"/>
              <a:gd name="connsiteY1" fmla="*/ 0 h 6858000"/>
              <a:gd name="connsiteX2" fmla="*/ 1931668 w 1931668"/>
              <a:gd name="connsiteY2" fmla="*/ 3434542 h 6858000"/>
              <a:gd name="connsiteX3" fmla="*/ 263085 w 1931668"/>
              <a:gd name="connsiteY3" fmla="*/ 6858000 h 6858000"/>
              <a:gd name="connsiteX4" fmla="*/ 0 w 1931668"/>
              <a:gd name="connsiteY4" fmla="*/ 6858000 h 6858000"/>
              <a:gd name="connsiteX5" fmla="*/ 1668582 w 1931668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1668" h="6858000">
                <a:moveTo>
                  <a:pt x="4029" y="0"/>
                </a:moveTo>
                <a:lnTo>
                  <a:pt x="266526" y="0"/>
                </a:lnTo>
                <a:lnTo>
                  <a:pt x="1931668" y="3434542"/>
                </a:lnTo>
                <a:lnTo>
                  <a:pt x="263085" y="6858000"/>
                </a:lnTo>
                <a:lnTo>
                  <a:pt x="0" y="6858000"/>
                </a:lnTo>
                <a:lnTo>
                  <a:pt x="1668582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/>
              </a:gs>
            </a:gsLst>
            <a:lin ang="1968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6" name="Forme libre : forme 85">
            <a:extLst>
              <a:ext uri="{FF2B5EF4-FFF2-40B4-BE49-F238E27FC236}">
                <a16:creationId xmlns:a16="http://schemas.microsoft.com/office/drawing/2014/main" id="{346B61A9-6F0E-499F-B06F-A66380D08C98}"/>
              </a:ext>
            </a:extLst>
          </p:cNvPr>
          <p:cNvSpPr/>
          <p:nvPr userDrawn="1"/>
        </p:nvSpPr>
        <p:spPr>
          <a:xfrm>
            <a:off x="2922262" y="0"/>
            <a:ext cx="2003326" cy="6858000"/>
          </a:xfrm>
          <a:custGeom>
            <a:avLst/>
            <a:gdLst>
              <a:gd name="connsiteX0" fmla="*/ 4130 w 2003326"/>
              <a:gd name="connsiteY0" fmla="*/ 0 h 6858000"/>
              <a:gd name="connsiteX1" fmla="*/ 338772 w 2003326"/>
              <a:gd name="connsiteY1" fmla="*/ 0 h 6858000"/>
              <a:gd name="connsiteX2" fmla="*/ 2003326 w 2003326"/>
              <a:gd name="connsiteY2" fmla="*/ 3434542 h 6858000"/>
              <a:gd name="connsiteX3" fmla="*/ 334743 w 2003326"/>
              <a:gd name="connsiteY3" fmla="*/ 6858000 h 6858000"/>
              <a:gd name="connsiteX4" fmla="*/ 0 w 2003326"/>
              <a:gd name="connsiteY4" fmla="*/ 6858000 h 6858000"/>
              <a:gd name="connsiteX5" fmla="*/ 1669272 w 2003326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03326" h="6858000">
                <a:moveTo>
                  <a:pt x="4130" y="0"/>
                </a:moveTo>
                <a:lnTo>
                  <a:pt x="338772" y="0"/>
                </a:lnTo>
                <a:lnTo>
                  <a:pt x="2003326" y="3434542"/>
                </a:lnTo>
                <a:lnTo>
                  <a:pt x="334743" y="6858000"/>
                </a:lnTo>
                <a:lnTo>
                  <a:pt x="0" y="6858000"/>
                </a:lnTo>
                <a:lnTo>
                  <a:pt x="1669272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/>
              </a:gs>
            </a:gsLst>
            <a:lin ang="1968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4" name="Forme libre : forme 83">
            <a:extLst>
              <a:ext uri="{FF2B5EF4-FFF2-40B4-BE49-F238E27FC236}">
                <a16:creationId xmlns:a16="http://schemas.microsoft.com/office/drawing/2014/main" id="{87BF12A4-17AC-4127-A836-ADB24269AA63}"/>
              </a:ext>
            </a:extLst>
          </p:cNvPr>
          <p:cNvSpPr/>
          <p:nvPr userDrawn="1"/>
        </p:nvSpPr>
        <p:spPr>
          <a:xfrm>
            <a:off x="2416135" y="0"/>
            <a:ext cx="2027727" cy="6858000"/>
          </a:xfrm>
          <a:custGeom>
            <a:avLst/>
            <a:gdLst>
              <a:gd name="connsiteX0" fmla="*/ 4029 w 2027727"/>
              <a:gd name="connsiteY0" fmla="*/ 0 h 6858000"/>
              <a:gd name="connsiteX1" fmla="*/ 362585 w 2027727"/>
              <a:gd name="connsiteY1" fmla="*/ 0 h 6858000"/>
              <a:gd name="connsiteX2" fmla="*/ 2027727 w 2027727"/>
              <a:gd name="connsiteY2" fmla="*/ 3434542 h 6858000"/>
              <a:gd name="connsiteX3" fmla="*/ 359144 w 2027727"/>
              <a:gd name="connsiteY3" fmla="*/ 6858000 h 6858000"/>
              <a:gd name="connsiteX4" fmla="*/ 0 w 2027727"/>
              <a:gd name="connsiteY4" fmla="*/ 6858000 h 6858000"/>
              <a:gd name="connsiteX5" fmla="*/ 1668583 w 2027727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27727" h="6858000">
                <a:moveTo>
                  <a:pt x="4029" y="0"/>
                </a:moveTo>
                <a:lnTo>
                  <a:pt x="362585" y="0"/>
                </a:lnTo>
                <a:lnTo>
                  <a:pt x="2027727" y="3434542"/>
                </a:lnTo>
                <a:lnTo>
                  <a:pt x="359144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/>
              </a:gs>
            </a:gsLst>
            <a:lin ang="1968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2" name="Forme libre : forme 81">
            <a:extLst>
              <a:ext uri="{FF2B5EF4-FFF2-40B4-BE49-F238E27FC236}">
                <a16:creationId xmlns:a16="http://schemas.microsoft.com/office/drawing/2014/main" id="{419F93E8-D1ED-41B7-B4BB-1B4C77EE093D}"/>
              </a:ext>
            </a:extLst>
          </p:cNvPr>
          <p:cNvSpPr/>
          <p:nvPr userDrawn="1"/>
        </p:nvSpPr>
        <p:spPr>
          <a:xfrm>
            <a:off x="1905764" y="0"/>
            <a:ext cx="2059958" cy="6858000"/>
          </a:xfrm>
          <a:custGeom>
            <a:avLst/>
            <a:gdLst>
              <a:gd name="connsiteX0" fmla="*/ 4130 w 2059958"/>
              <a:gd name="connsiteY0" fmla="*/ 0 h 6858000"/>
              <a:gd name="connsiteX1" fmla="*/ 394815 w 2059958"/>
              <a:gd name="connsiteY1" fmla="*/ 0 h 6858000"/>
              <a:gd name="connsiteX2" fmla="*/ 2059958 w 2059958"/>
              <a:gd name="connsiteY2" fmla="*/ 3434542 h 6858000"/>
              <a:gd name="connsiteX3" fmla="*/ 391375 w 2059958"/>
              <a:gd name="connsiteY3" fmla="*/ 6858000 h 6858000"/>
              <a:gd name="connsiteX4" fmla="*/ 0 w 2059958"/>
              <a:gd name="connsiteY4" fmla="*/ 6858000 h 6858000"/>
              <a:gd name="connsiteX5" fmla="*/ 1669273 w 2059958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59958" h="6858000">
                <a:moveTo>
                  <a:pt x="4130" y="0"/>
                </a:moveTo>
                <a:lnTo>
                  <a:pt x="394815" y="0"/>
                </a:lnTo>
                <a:lnTo>
                  <a:pt x="2059958" y="3434542"/>
                </a:lnTo>
                <a:lnTo>
                  <a:pt x="391375" y="6858000"/>
                </a:lnTo>
                <a:lnTo>
                  <a:pt x="0" y="6858000"/>
                </a:lnTo>
                <a:lnTo>
                  <a:pt x="166927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/>
              </a:gs>
            </a:gsLst>
            <a:lin ang="1968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9" name="Forme libre : forme 78">
            <a:extLst>
              <a:ext uri="{FF2B5EF4-FFF2-40B4-BE49-F238E27FC236}">
                <a16:creationId xmlns:a16="http://schemas.microsoft.com/office/drawing/2014/main" id="{0A70E80B-0D12-454A-9575-BBF5765833F5}"/>
              </a:ext>
            </a:extLst>
          </p:cNvPr>
          <p:cNvSpPr/>
          <p:nvPr userDrawn="1"/>
        </p:nvSpPr>
        <p:spPr>
          <a:xfrm>
            <a:off x="1388165" y="0"/>
            <a:ext cx="2107297" cy="6858000"/>
          </a:xfrm>
          <a:custGeom>
            <a:avLst/>
            <a:gdLst>
              <a:gd name="connsiteX0" fmla="*/ 4029 w 2107297"/>
              <a:gd name="connsiteY0" fmla="*/ 0 h 6858000"/>
              <a:gd name="connsiteX1" fmla="*/ 442155 w 2107297"/>
              <a:gd name="connsiteY1" fmla="*/ 0 h 6858000"/>
              <a:gd name="connsiteX2" fmla="*/ 2107297 w 2107297"/>
              <a:gd name="connsiteY2" fmla="*/ 3434542 h 6858000"/>
              <a:gd name="connsiteX3" fmla="*/ 438714 w 2107297"/>
              <a:gd name="connsiteY3" fmla="*/ 6858000 h 6858000"/>
              <a:gd name="connsiteX4" fmla="*/ 0 w 2107297"/>
              <a:gd name="connsiteY4" fmla="*/ 6858000 h 6858000"/>
              <a:gd name="connsiteX5" fmla="*/ 1668583 w 2107297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7297" h="6858000">
                <a:moveTo>
                  <a:pt x="4029" y="0"/>
                </a:moveTo>
                <a:lnTo>
                  <a:pt x="442155" y="0"/>
                </a:lnTo>
                <a:lnTo>
                  <a:pt x="2107297" y="3434542"/>
                </a:lnTo>
                <a:lnTo>
                  <a:pt x="438714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/>
              </a:gs>
            </a:gsLst>
            <a:lin ang="1968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7" name="Forme libre : forme 76">
            <a:extLst>
              <a:ext uri="{FF2B5EF4-FFF2-40B4-BE49-F238E27FC236}">
                <a16:creationId xmlns:a16="http://schemas.microsoft.com/office/drawing/2014/main" id="{401F66A9-E363-4D8D-B2DE-FF7806308B51}"/>
              </a:ext>
            </a:extLst>
          </p:cNvPr>
          <p:cNvSpPr/>
          <p:nvPr userDrawn="1"/>
        </p:nvSpPr>
        <p:spPr>
          <a:xfrm>
            <a:off x="889952" y="0"/>
            <a:ext cx="2115183" cy="6858000"/>
          </a:xfrm>
          <a:custGeom>
            <a:avLst/>
            <a:gdLst>
              <a:gd name="connsiteX0" fmla="*/ 4030 w 2115183"/>
              <a:gd name="connsiteY0" fmla="*/ 0 h 6858000"/>
              <a:gd name="connsiteX1" fmla="*/ 450040 w 2115183"/>
              <a:gd name="connsiteY1" fmla="*/ 0 h 6858000"/>
              <a:gd name="connsiteX2" fmla="*/ 2115183 w 2115183"/>
              <a:gd name="connsiteY2" fmla="*/ 3434542 h 6858000"/>
              <a:gd name="connsiteX3" fmla="*/ 446600 w 2115183"/>
              <a:gd name="connsiteY3" fmla="*/ 6858000 h 6858000"/>
              <a:gd name="connsiteX4" fmla="*/ 0 w 2115183"/>
              <a:gd name="connsiteY4" fmla="*/ 6858000 h 6858000"/>
              <a:gd name="connsiteX5" fmla="*/ 1668583 w 2115183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5183" h="6858000">
                <a:moveTo>
                  <a:pt x="4030" y="0"/>
                </a:moveTo>
                <a:lnTo>
                  <a:pt x="450040" y="0"/>
                </a:lnTo>
                <a:lnTo>
                  <a:pt x="2115183" y="3434542"/>
                </a:lnTo>
                <a:lnTo>
                  <a:pt x="446600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/>
              </a:gs>
            </a:gsLst>
            <a:lin ang="1968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5" name="Forme libre : forme 74">
            <a:extLst>
              <a:ext uri="{FF2B5EF4-FFF2-40B4-BE49-F238E27FC236}">
                <a16:creationId xmlns:a16="http://schemas.microsoft.com/office/drawing/2014/main" id="{0722EF03-FFCE-4322-9F5C-E23465D23A8E}"/>
              </a:ext>
            </a:extLst>
          </p:cNvPr>
          <p:cNvSpPr/>
          <p:nvPr userDrawn="1"/>
        </p:nvSpPr>
        <p:spPr>
          <a:xfrm>
            <a:off x="391739" y="0"/>
            <a:ext cx="2123068" cy="6858000"/>
          </a:xfrm>
          <a:custGeom>
            <a:avLst/>
            <a:gdLst>
              <a:gd name="connsiteX0" fmla="*/ 4030 w 2123068"/>
              <a:gd name="connsiteY0" fmla="*/ 0 h 6858000"/>
              <a:gd name="connsiteX1" fmla="*/ 457925 w 2123068"/>
              <a:gd name="connsiteY1" fmla="*/ 0 h 6858000"/>
              <a:gd name="connsiteX2" fmla="*/ 2123068 w 2123068"/>
              <a:gd name="connsiteY2" fmla="*/ 3434542 h 6858000"/>
              <a:gd name="connsiteX3" fmla="*/ 454485 w 2123068"/>
              <a:gd name="connsiteY3" fmla="*/ 6858000 h 6858000"/>
              <a:gd name="connsiteX4" fmla="*/ 0 w 2123068"/>
              <a:gd name="connsiteY4" fmla="*/ 6858000 h 6858000"/>
              <a:gd name="connsiteX5" fmla="*/ 1668583 w 2123068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23068" h="6858000">
                <a:moveTo>
                  <a:pt x="4030" y="0"/>
                </a:moveTo>
                <a:lnTo>
                  <a:pt x="457925" y="0"/>
                </a:lnTo>
                <a:lnTo>
                  <a:pt x="2123068" y="3434542"/>
                </a:lnTo>
                <a:lnTo>
                  <a:pt x="454485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/>
              </a:gs>
            </a:gsLst>
            <a:lin ang="1968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3" name="Forme libre : forme 72">
            <a:extLst>
              <a:ext uri="{FF2B5EF4-FFF2-40B4-BE49-F238E27FC236}">
                <a16:creationId xmlns:a16="http://schemas.microsoft.com/office/drawing/2014/main" id="{5407E861-2D21-43F6-A07F-FF72EB97E232}"/>
              </a:ext>
            </a:extLst>
          </p:cNvPr>
          <p:cNvSpPr/>
          <p:nvPr userDrawn="1"/>
        </p:nvSpPr>
        <p:spPr>
          <a:xfrm>
            <a:off x="1" y="0"/>
            <a:ext cx="2016594" cy="6858000"/>
          </a:xfrm>
          <a:custGeom>
            <a:avLst/>
            <a:gdLst>
              <a:gd name="connsiteX0" fmla="*/ 0 w 2016594"/>
              <a:gd name="connsiteY0" fmla="*/ 0 h 6858000"/>
              <a:gd name="connsiteX1" fmla="*/ 351451 w 2016594"/>
              <a:gd name="connsiteY1" fmla="*/ 0 h 6858000"/>
              <a:gd name="connsiteX2" fmla="*/ 2016594 w 2016594"/>
              <a:gd name="connsiteY2" fmla="*/ 3434542 h 6858000"/>
              <a:gd name="connsiteX3" fmla="*/ 348011 w 2016594"/>
              <a:gd name="connsiteY3" fmla="*/ 6858000 h 6858000"/>
              <a:gd name="connsiteX4" fmla="*/ 0 w 2016594"/>
              <a:gd name="connsiteY4" fmla="*/ 6858000 h 6858000"/>
              <a:gd name="connsiteX5" fmla="*/ 0 w 2016594"/>
              <a:gd name="connsiteY5" fmla="*/ 6655729 h 6858000"/>
              <a:gd name="connsiteX6" fmla="*/ 1569994 w 2016594"/>
              <a:gd name="connsiteY6" fmla="*/ 3434542 h 6858000"/>
              <a:gd name="connsiteX7" fmla="*/ 0 w 2016594"/>
              <a:gd name="connsiteY7" fmla="*/ 1951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6594" h="6858000">
                <a:moveTo>
                  <a:pt x="0" y="0"/>
                </a:moveTo>
                <a:lnTo>
                  <a:pt x="351451" y="0"/>
                </a:lnTo>
                <a:lnTo>
                  <a:pt x="2016594" y="3434542"/>
                </a:lnTo>
                <a:lnTo>
                  <a:pt x="348011" y="6858000"/>
                </a:lnTo>
                <a:lnTo>
                  <a:pt x="0" y="6858000"/>
                </a:lnTo>
                <a:lnTo>
                  <a:pt x="0" y="6655729"/>
                </a:lnTo>
                <a:lnTo>
                  <a:pt x="1569994" y="3434542"/>
                </a:lnTo>
                <a:lnTo>
                  <a:pt x="0" y="195108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/>
              </a:gs>
            </a:gsLst>
            <a:lin ang="1968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1" name="Forme libre : forme 70">
            <a:extLst>
              <a:ext uri="{FF2B5EF4-FFF2-40B4-BE49-F238E27FC236}">
                <a16:creationId xmlns:a16="http://schemas.microsoft.com/office/drawing/2014/main" id="{333082C1-7502-427F-ABB8-586384355463}"/>
              </a:ext>
            </a:extLst>
          </p:cNvPr>
          <p:cNvSpPr/>
          <p:nvPr userDrawn="1"/>
        </p:nvSpPr>
        <p:spPr>
          <a:xfrm>
            <a:off x="1" y="286451"/>
            <a:ext cx="1526266" cy="6279559"/>
          </a:xfrm>
          <a:custGeom>
            <a:avLst/>
            <a:gdLst>
              <a:gd name="connsiteX0" fmla="*/ 0 w 1526266"/>
              <a:gd name="connsiteY0" fmla="*/ 0 h 6279559"/>
              <a:gd name="connsiteX1" fmla="*/ 1526266 w 1526266"/>
              <a:gd name="connsiteY1" fmla="*/ 3148093 h 6279559"/>
              <a:gd name="connsiteX2" fmla="*/ 0 w 1526266"/>
              <a:gd name="connsiteY2" fmla="*/ 6279559 h 6279559"/>
              <a:gd name="connsiteX3" fmla="*/ 0 w 1526266"/>
              <a:gd name="connsiteY3" fmla="*/ 5347085 h 6279559"/>
              <a:gd name="connsiteX4" fmla="*/ 1071781 w 1526266"/>
              <a:gd name="connsiteY4" fmla="*/ 3148093 h 6279559"/>
              <a:gd name="connsiteX5" fmla="*/ 0 w 1526266"/>
              <a:gd name="connsiteY5" fmla="*/ 936642 h 6279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6266" h="6279559">
                <a:moveTo>
                  <a:pt x="0" y="0"/>
                </a:moveTo>
                <a:lnTo>
                  <a:pt x="1526266" y="3148093"/>
                </a:lnTo>
                <a:lnTo>
                  <a:pt x="0" y="6279559"/>
                </a:lnTo>
                <a:lnTo>
                  <a:pt x="0" y="5347085"/>
                </a:lnTo>
                <a:lnTo>
                  <a:pt x="1071781" y="3148093"/>
                </a:lnTo>
                <a:lnTo>
                  <a:pt x="0" y="9366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/>
              </a:gs>
            </a:gsLst>
            <a:lin ang="1968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9" name="Forme libre : forme 68">
            <a:extLst>
              <a:ext uri="{FF2B5EF4-FFF2-40B4-BE49-F238E27FC236}">
                <a16:creationId xmlns:a16="http://schemas.microsoft.com/office/drawing/2014/main" id="{F54B92F2-7AB3-4235-99FB-165E89EBF4F1}"/>
              </a:ext>
            </a:extLst>
          </p:cNvPr>
          <p:cNvSpPr/>
          <p:nvPr userDrawn="1"/>
        </p:nvSpPr>
        <p:spPr>
          <a:xfrm>
            <a:off x="0" y="1297051"/>
            <a:ext cx="1035939" cy="4262949"/>
          </a:xfrm>
          <a:custGeom>
            <a:avLst/>
            <a:gdLst>
              <a:gd name="connsiteX0" fmla="*/ 0 w 1035939"/>
              <a:gd name="connsiteY0" fmla="*/ 0 h 4262949"/>
              <a:gd name="connsiteX1" fmla="*/ 1035939 w 1035939"/>
              <a:gd name="connsiteY1" fmla="*/ 2137495 h 4262949"/>
              <a:gd name="connsiteX2" fmla="*/ 0 w 1035939"/>
              <a:gd name="connsiteY2" fmla="*/ 4262949 h 4262949"/>
              <a:gd name="connsiteX3" fmla="*/ 0 w 1035939"/>
              <a:gd name="connsiteY3" fmla="*/ 3314296 h 4262949"/>
              <a:gd name="connsiteX4" fmla="*/ 573569 w 1035939"/>
              <a:gd name="connsiteY4" fmla="*/ 2137495 h 4262949"/>
              <a:gd name="connsiteX5" fmla="*/ 0 w 1035939"/>
              <a:gd name="connsiteY5" fmla="*/ 954028 h 4262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35939" h="4262949">
                <a:moveTo>
                  <a:pt x="0" y="0"/>
                </a:moveTo>
                <a:lnTo>
                  <a:pt x="1035939" y="2137495"/>
                </a:lnTo>
                <a:lnTo>
                  <a:pt x="0" y="4262949"/>
                </a:lnTo>
                <a:lnTo>
                  <a:pt x="0" y="3314296"/>
                </a:lnTo>
                <a:lnTo>
                  <a:pt x="573569" y="2137495"/>
                </a:lnTo>
                <a:lnTo>
                  <a:pt x="0" y="954028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/>
              </a:gs>
            </a:gsLst>
            <a:lin ang="1968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7" name="Forme libre : forme 66">
            <a:extLst>
              <a:ext uri="{FF2B5EF4-FFF2-40B4-BE49-F238E27FC236}">
                <a16:creationId xmlns:a16="http://schemas.microsoft.com/office/drawing/2014/main" id="{8B087CB9-0F03-4012-A1D9-1BBFEAF32946}"/>
              </a:ext>
            </a:extLst>
          </p:cNvPr>
          <p:cNvSpPr/>
          <p:nvPr userDrawn="1"/>
        </p:nvSpPr>
        <p:spPr>
          <a:xfrm>
            <a:off x="0" y="2316549"/>
            <a:ext cx="542029" cy="2230086"/>
          </a:xfrm>
          <a:custGeom>
            <a:avLst/>
            <a:gdLst>
              <a:gd name="connsiteX0" fmla="*/ 0 w 542029"/>
              <a:gd name="connsiteY0" fmla="*/ 0 h 2230086"/>
              <a:gd name="connsiteX1" fmla="*/ 542029 w 542029"/>
              <a:gd name="connsiteY1" fmla="*/ 1117995 h 2230086"/>
              <a:gd name="connsiteX2" fmla="*/ 0 w 542029"/>
              <a:gd name="connsiteY2" fmla="*/ 2230086 h 2230086"/>
              <a:gd name="connsiteX3" fmla="*/ 0 w 542029"/>
              <a:gd name="connsiteY3" fmla="*/ 1281433 h 2230086"/>
              <a:gd name="connsiteX4" fmla="*/ 1 w 542029"/>
              <a:gd name="connsiteY4" fmla="*/ 1281431 h 2230086"/>
              <a:gd name="connsiteX5" fmla="*/ 1 w 542029"/>
              <a:gd name="connsiteY5" fmla="*/ 953633 h 2230086"/>
              <a:gd name="connsiteX6" fmla="*/ 0 w 542029"/>
              <a:gd name="connsiteY6" fmla="*/ 953631 h 2230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029" h="2230086">
                <a:moveTo>
                  <a:pt x="0" y="0"/>
                </a:moveTo>
                <a:lnTo>
                  <a:pt x="542029" y="1117995"/>
                </a:lnTo>
                <a:lnTo>
                  <a:pt x="0" y="2230086"/>
                </a:lnTo>
                <a:lnTo>
                  <a:pt x="0" y="1281433"/>
                </a:lnTo>
                <a:lnTo>
                  <a:pt x="1" y="1281431"/>
                </a:lnTo>
                <a:lnTo>
                  <a:pt x="1" y="953633"/>
                </a:lnTo>
                <a:lnTo>
                  <a:pt x="0" y="953631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/>
              </a:gs>
            </a:gsLst>
            <a:lin ang="1968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C1BB843A-A8F3-440E-A046-122E69D50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11396" y="1599488"/>
            <a:ext cx="3755136" cy="203197"/>
          </a:xfrm>
          <a:noFill/>
          <a:effectLst/>
        </p:spPr>
        <p:txBody>
          <a:bodyPr lIns="0" tIns="0" rIns="0" bIns="0" anchor="b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lang="en-US" sz="1467" kern="1200" cap="all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170684" indent="0" algn="ctr">
              <a:buNone/>
              <a:defRPr lang="en-US" sz="1467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67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ONTACT</a:t>
            </a:r>
          </a:p>
        </p:txBody>
      </p: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2403A06F-841F-48A1-86D1-B4619E82F2F2}"/>
              </a:ext>
            </a:extLst>
          </p:cNvPr>
          <p:cNvGrpSpPr/>
          <p:nvPr userDrawn="1"/>
        </p:nvGrpSpPr>
        <p:grpSpPr>
          <a:xfrm>
            <a:off x="7711396" y="5587483"/>
            <a:ext cx="3755136" cy="709858"/>
            <a:chOff x="7711396" y="5587483"/>
            <a:chExt cx="3755136" cy="709858"/>
          </a:xfrm>
        </p:grpSpPr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7488F023-D2A3-4A58-BDF0-02C744ED7518}"/>
                </a:ext>
              </a:extLst>
            </p:cNvPr>
            <p:cNvSpPr/>
            <p:nvPr/>
          </p:nvSpPr>
          <p:spPr>
            <a:xfrm>
              <a:off x="8956248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67 w 289676"/>
                <a:gd name="connsiteY5" fmla="*/ 144838 h 289675"/>
                <a:gd name="connsiteX6" fmla="*/ 144838 w 289676"/>
                <a:gd name="connsiteY6" fmla="*/ 13167 h 289675"/>
                <a:gd name="connsiteX7" fmla="*/ 276509 w 289676"/>
                <a:gd name="connsiteY7" fmla="*/ 144838 h 289675"/>
                <a:gd name="connsiteX8" fmla="*/ 144838 w 289676"/>
                <a:gd name="connsiteY8" fmla="*/ 276508 h 289675"/>
                <a:gd name="connsiteX9" fmla="*/ 13167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7"/>
                    <a:pt x="224828" y="0"/>
                    <a:pt x="144838" y="0"/>
                  </a:cubicBezTo>
                  <a:cubicBezTo>
                    <a:pt x="64848" y="0"/>
                    <a:pt x="0" y="64847"/>
                    <a:pt x="0" y="144838"/>
                  </a:cubicBezTo>
                  <a:cubicBezTo>
                    <a:pt x="0" y="224827"/>
                    <a:pt x="64848" y="289675"/>
                    <a:pt x="144838" y="289675"/>
                  </a:cubicBezTo>
                  <a:cubicBezTo>
                    <a:pt x="224828" y="289675"/>
                    <a:pt x="289676" y="224827"/>
                    <a:pt x="289676" y="144838"/>
                  </a:cubicBezTo>
                  <a:close/>
                  <a:moveTo>
                    <a:pt x="13167" y="144838"/>
                  </a:moveTo>
                  <a:cubicBezTo>
                    <a:pt x="13167" y="72116"/>
                    <a:pt x="72116" y="13167"/>
                    <a:pt x="144838" y="13167"/>
                  </a:cubicBezTo>
                  <a:cubicBezTo>
                    <a:pt x="217560" y="13167"/>
                    <a:pt x="276509" y="72116"/>
                    <a:pt x="276509" y="144838"/>
                  </a:cubicBezTo>
                  <a:cubicBezTo>
                    <a:pt x="276509" y="217559"/>
                    <a:pt x="217560" y="276508"/>
                    <a:pt x="144838" y="276508"/>
                  </a:cubicBezTo>
                  <a:cubicBezTo>
                    <a:pt x="72116" y="276508"/>
                    <a:pt x="13167" y="217559"/>
                    <a:pt x="13167" y="144838"/>
                  </a:cubicBezTo>
                  <a:close/>
                </a:path>
              </a:pathLst>
            </a:custGeom>
            <a:solidFill>
              <a:schemeClr val="accent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ZoneTexte 42">
              <a:hlinkClick r:id="rId2"/>
              <a:extLst>
                <a:ext uri="{FF2B5EF4-FFF2-40B4-BE49-F238E27FC236}">
                  <a16:creationId xmlns:a16="http://schemas.microsoft.com/office/drawing/2014/main" id="{46FB63E6-0552-4C38-8E8D-9B303DEDEE97}"/>
                </a:ext>
              </a:extLst>
            </p:cNvPr>
            <p:cNvSpPr txBox="1"/>
            <p:nvPr userDrawn="1"/>
          </p:nvSpPr>
          <p:spPr>
            <a:xfrm>
              <a:off x="7711396" y="6061892"/>
              <a:ext cx="3755136" cy="235449"/>
            </a:xfrm>
            <a:prstGeom prst="rect">
              <a:avLst/>
            </a:prstGeom>
            <a:noFill/>
            <a:effectLst/>
          </p:spPr>
          <p:txBody>
            <a:bodyPr vert="horz" wrap="square" lIns="0" tIns="0" rIns="0" bIns="0" rtlCol="0" anchor="ctr" anchorCtr="0">
              <a:spAutoFit/>
            </a:bodyPr>
            <a:lstStyle>
              <a:lvl1pPr lvl="0" indent="0" algn="ctr" defTabSz="914377">
                <a:lnSpc>
                  <a:spcPct val="90000"/>
                </a:lnSpc>
                <a:spcBef>
                  <a:spcPts val="1600"/>
                </a:spcBef>
                <a:buFont typeface="Arial" panose="020B0604020202020204" pitchFamily="34" charset="0"/>
                <a:buNone/>
                <a:defRPr sz="1700" b="1" baseline="0">
                  <a:solidFill>
                    <a:schemeClr val="bg1"/>
                  </a:solidFill>
                </a:defRPr>
              </a:lvl1pPr>
              <a:lvl2pPr marL="170684" indent="0" algn="ctr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None/>
                <a:defRPr sz="1333">
                  <a:solidFill>
                    <a:schemeClr val="bg1"/>
                  </a:solidFill>
                </a:defRPr>
              </a:lvl2pPr>
              <a:lvl3pPr marL="621776" indent="-292601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Char char="→"/>
                <a:defRPr sz="1600">
                  <a:solidFill>
                    <a:schemeClr val="accent1"/>
                  </a:solidFill>
                </a:defRPr>
              </a:lvl3pPr>
              <a:lvl4pPr marL="768077" indent="-146300" defTabSz="914377">
                <a:lnSpc>
                  <a:spcPct val="90000"/>
                </a:lnSpc>
                <a:spcBef>
                  <a:spcPts val="533"/>
                </a:spcBef>
                <a:buFontTx/>
                <a:buBlip>
                  <a:blip r:embed="rId3"/>
                </a:buBlip>
                <a:defRPr sz="1333"/>
              </a:lvl4pPr>
              <a:lvl5pPr marL="914377" indent="-109725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Char char="•"/>
                <a:defRPr sz="1333">
                  <a:solidFill>
                    <a:schemeClr val="bg2"/>
                  </a:solidFill>
                </a:defRPr>
              </a:lvl5pPr>
              <a:lvl6pPr marL="2514537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6pPr>
              <a:lvl7pPr marL="2971726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7pPr>
              <a:lvl8pPr marL="3428914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8pPr>
              <a:lvl9pPr marL="3886103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9pPr>
            </a:lstStyle>
            <a:p>
              <a:pPr lvl="0"/>
              <a:r>
                <a:rPr lang="en-US" noProof="0" dirty="0">
                  <a:solidFill>
                    <a:schemeClr val="accent1"/>
                  </a:solidFill>
                </a:rPr>
                <a:t>www.Idemia.com</a:t>
              </a:r>
            </a:p>
          </p:txBody>
        </p: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0365C045-92C9-40AE-97D8-0487793075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168955" y="5975873"/>
              <a:ext cx="2840018" cy="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ZoneTexte 44">
              <a:extLst>
                <a:ext uri="{FF2B5EF4-FFF2-40B4-BE49-F238E27FC236}">
                  <a16:creationId xmlns:a16="http://schemas.microsoft.com/office/drawing/2014/main" id="{7D638B2A-92A3-4102-811B-A6B195BD7DFB}"/>
                </a:ext>
              </a:extLst>
            </p:cNvPr>
            <p:cNvSpPr txBox="1"/>
            <p:nvPr userDrawn="1"/>
          </p:nvSpPr>
          <p:spPr>
            <a:xfrm>
              <a:off x="8173974" y="5687356"/>
              <a:ext cx="744115" cy="145424"/>
            </a:xfrm>
            <a:prstGeom prst="rect">
              <a:avLst/>
            </a:prstGeom>
            <a:noFill/>
            <a:effectLst/>
          </p:spPr>
          <p:txBody>
            <a:bodyPr vert="horz" wrap="square" lIns="0" tIns="0" rIns="0" bIns="0" rtlCol="0" anchor="ctr" anchorCtr="0">
              <a:spAutoFit/>
            </a:bodyPr>
            <a:lstStyle>
              <a:lvl1pPr lvl="0" indent="0" algn="ctr" defTabSz="914377">
                <a:lnSpc>
                  <a:spcPct val="90000"/>
                </a:lnSpc>
                <a:spcBef>
                  <a:spcPts val="1600"/>
                </a:spcBef>
                <a:buFont typeface="Arial" panose="020B0604020202020204" pitchFamily="34" charset="0"/>
                <a:buNone/>
                <a:defRPr sz="1700" b="1" baseline="0">
                  <a:solidFill>
                    <a:schemeClr val="bg1"/>
                  </a:solidFill>
                </a:defRPr>
              </a:lvl1pPr>
              <a:lvl2pPr marL="170684" indent="0" algn="ctr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None/>
                <a:defRPr sz="1333">
                  <a:solidFill>
                    <a:schemeClr val="bg1"/>
                  </a:solidFill>
                </a:defRPr>
              </a:lvl2pPr>
              <a:lvl3pPr marL="621776" indent="-292601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Char char="→"/>
                <a:defRPr sz="1600">
                  <a:solidFill>
                    <a:schemeClr val="accent1"/>
                  </a:solidFill>
                </a:defRPr>
              </a:lvl3pPr>
              <a:lvl4pPr marL="768077" indent="-146300" defTabSz="914377">
                <a:lnSpc>
                  <a:spcPct val="90000"/>
                </a:lnSpc>
                <a:spcBef>
                  <a:spcPts val="533"/>
                </a:spcBef>
                <a:buFontTx/>
                <a:buBlip>
                  <a:blip r:embed="rId3"/>
                </a:buBlip>
                <a:defRPr sz="1333"/>
              </a:lvl4pPr>
              <a:lvl5pPr marL="914377" indent="-109725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Char char="•"/>
                <a:defRPr sz="1333">
                  <a:solidFill>
                    <a:schemeClr val="bg2"/>
                  </a:solidFill>
                </a:defRPr>
              </a:lvl5pPr>
              <a:lvl6pPr marL="2514537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6pPr>
              <a:lvl7pPr marL="2971726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7pPr>
              <a:lvl8pPr marL="3428914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8pPr>
              <a:lvl9pPr marL="3886103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9pPr>
            </a:lstStyle>
            <a:p>
              <a:pPr lvl="0" algn="l"/>
              <a:r>
                <a:rPr lang="en-US" sz="1050" b="0" spc="43" noProof="0" dirty="0">
                  <a:solidFill>
                    <a:schemeClr val="accent1"/>
                  </a:solidFill>
                </a:rPr>
                <a:t>Join us on</a:t>
              </a:r>
            </a:p>
          </p:txBody>
        </p:sp>
        <p:grpSp>
          <p:nvGrpSpPr>
            <p:cNvPr id="46" name="Graphique 109">
              <a:extLst>
                <a:ext uri="{FF2B5EF4-FFF2-40B4-BE49-F238E27FC236}">
                  <a16:creationId xmlns:a16="http://schemas.microsoft.com/office/drawing/2014/main" id="{52AE9DC5-A1A3-409E-9932-6B5CDF4E2D1F}"/>
                </a:ext>
              </a:extLst>
            </p:cNvPr>
            <p:cNvGrpSpPr/>
            <p:nvPr/>
          </p:nvGrpSpPr>
          <p:grpSpPr>
            <a:xfrm>
              <a:off x="10791668" y="5661826"/>
              <a:ext cx="145879" cy="145878"/>
              <a:chOff x="10791668" y="5661826"/>
              <a:chExt cx="145879" cy="145878"/>
            </a:xfrm>
            <a:solidFill>
              <a:schemeClr val="accent1"/>
            </a:solidFill>
          </p:grpSpPr>
          <p:sp>
            <p:nvSpPr>
              <p:cNvPr id="60" name="Forme libre : forme 59">
                <a:extLst>
                  <a:ext uri="{FF2B5EF4-FFF2-40B4-BE49-F238E27FC236}">
                    <a16:creationId xmlns:a16="http://schemas.microsoft.com/office/drawing/2014/main" id="{72F9F102-8A58-4319-BD6F-05AFEB224581}"/>
                  </a:ext>
                </a:extLst>
              </p:cNvPr>
              <p:cNvSpPr/>
              <p:nvPr/>
            </p:nvSpPr>
            <p:spPr>
              <a:xfrm>
                <a:off x="10791668" y="5661826"/>
                <a:ext cx="145879" cy="145878"/>
              </a:xfrm>
              <a:custGeom>
                <a:avLst/>
                <a:gdLst>
                  <a:gd name="connsiteX0" fmla="*/ 72940 w 145879"/>
                  <a:gd name="connsiteY0" fmla="*/ 13111 h 145878"/>
                  <a:gd name="connsiteX1" fmla="*/ 102381 w 145879"/>
                  <a:gd name="connsiteY1" fmla="*/ 13537 h 145878"/>
                  <a:gd name="connsiteX2" fmla="*/ 115918 w 145879"/>
                  <a:gd name="connsiteY2" fmla="*/ 16046 h 145878"/>
                  <a:gd name="connsiteX3" fmla="*/ 124296 w 145879"/>
                  <a:gd name="connsiteY3" fmla="*/ 21489 h 145878"/>
                  <a:gd name="connsiteX4" fmla="*/ 129739 w 145879"/>
                  <a:gd name="connsiteY4" fmla="*/ 29867 h 145878"/>
                  <a:gd name="connsiteX5" fmla="*/ 132248 w 145879"/>
                  <a:gd name="connsiteY5" fmla="*/ 43404 h 145878"/>
                  <a:gd name="connsiteX6" fmla="*/ 132674 w 145879"/>
                  <a:gd name="connsiteY6" fmla="*/ 72845 h 145878"/>
                  <a:gd name="connsiteX7" fmla="*/ 132248 w 145879"/>
                  <a:gd name="connsiteY7" fmla="*/ 102286 h 145878"/>
                  <a:gd name="connsiteX8" fmla="*/ 129739 w 145879"/>
                  <a:gd name="connsiteY8" fmla="*/ 115823 h 145878"/>
                  <a:gd name="connsiteX9" fmla="*/ 124296 w 145879"/>
                  <a:gd name="connsiteY9" fmla="*/ 124201 h 145878"/>
                  <a:gd name="connsiteX10" fmla="*/ 115918 w 145879"/>
                  <a:gd name="connsiteY10" fmla="*/ 129644 h 145878"/>
                  <a:gd name="connsiteX11" fmla="*/ 102381 w 145879"/>
                  <a:gd name="connsiteY11" fmla="*/ 132152 h 145878"/>
                  <a:gd name="connsiteX12" fmla="*/ 72940 w 145879"/>
                  <a:gd name="connsiteY12" fmla="*/ 132578 h 145878"/>
                  <a:gd name="connsiteX13" fmla="*/ 43499 w 145879"/>
                  <a:gd name="connsiteY13" fmla="*/ 132152 h 145878"/>
                  <a:gd name="connsiteX14" fmla="*/ 29962 w 145879"/>
                  <a:gd name="connsiteY14" fmla="*/ 129644 h 145878"/>
                  <a:gd name="connsiteX15" fmla="*/ 21584 w 145879"/>
                  <a:gd name="connsiteY15" fmla="*/ 124201 h 145878"/>
                  <a:gd name="connsiteX16" fmla="*/ 16140 w 145879"/>
                  <a:gd name="connsiteY16" fmla="*/ 115823 h 145878"/>
                  <a:gd name="connsiteX17" fmla="*/ 13632 w 145879"/>
                  <a:gd name="connsiteY17" fmla="*/ 102286 h 145878"/>
                  <a:gd name="connsiteX18" fmla="*/ 13206 w 145879"/>
                  <a:gd name="connsiteY18" fmla="*/ 72845 h 145878"/>
                  <a:gd name="connsiteX19" fmla="*/ 13632 w 145879"/>
                  <a:gd name="connsiteY19" fmla="*/ 43404 h 145878"/>
                  <a:gd name="connsiteX20" fmla="*/ 16140 w 145879"/>
                  <a:gd name="connsiteY20" fmla="*/ 29867 h 145878"/>
                  <a:gd name="connsiteX21" fmla="*/ 21584 w 145879"/>
                  <a:gd name="connsiteY21" fmla="*/ 21489 h 145878"/>
                  <a:gd name="connsiteX22" fmla="*/ 29962 w 145879"/>
                  <a:gd name="connsiteY22" fmla="*/ 16046 h 145878"/>
                  <a:gd name="connsiteX23" fmla="*/ 43499 w 145879"/>
                  <a:gd name="connsiteY23" fmla="*/ 13537 h 145878"/>
                  <a:gd name="connsiteX24" fmla="*/ 72940 w 145879"/>
                  <a:gd name="connsiteY24" fmla="*/ 13111 h 145878"/>
                  <a:gd name="connsiteX25" fmla="*/ 72940 w 145879"/>
                  <a:gd name="connsiteY25" fmla="*/ 0 h 145878"/>
                  <a:gd name="connsiteX26" fmla="*/ 42883 w 145879"/>
                  <a:gd name="connsiteY26" fmla="*/ 426 h 145878"/>
                  <a:gd name="connsiteX27" fmla="*/ 25181 w 145879"/>
                  <a:gd name="connsiteY27" fmla="*/ 3834 h 145878"/>
                  <a:gd name="connsiteX28" fmla="*/ 12259 w 145879"/>
                  <a:gd name="connsiteY28" fmla="*/ 12259 h 145878"/>
                  <a:gd name="connsiteX29" fmla="*/ 3834 w 145879"/>
                  <a:gd name="connsiteY29" fmla="*/ 25181 h 145878"/>
                  <a:gd name="connsiteX30" fmla="*/ 426 w 145879"/>
                  <a:gd name="connsiteY30" fmla="*/ 42883 h 145878"/>
                  <a:gd name="connsiteX31" fmla="*/ 0 w 145879"/>
                  <a:gd name="connsiteY31" fmla="*/ 72939 h 145878"/>
                  <a:gd name="connsiteX32" fmla="*/ 426 w 145879"/>
                  <a:gd name="connsiteY32" fmla="*/ 102996 h 145878"/>
                  <a:gd name="connsiteX33" fmla="*/ 3834 w 145879"/>
                  <a:gd name="connsiteY33" fmla="*/ 120698 h 145878"/>
                  <a:gd name="connsiteX34" fmla="*/ 12259 w 145879"/>
                  <a:gd name="connsiteY34" fmla="*/ 133620 h 145878"/>
                  <a:gd name="connsiteX35" fmla="*/ 25181 w 145879"/>
                  <a:gd name="connsiteY35" fmla="*/ 142045 h 145878"/>
                  <a:gd name="connsiteX36" fmla="*/ 42883 w 145879"/>
                  <a:gd name="connsiteY36" fmla="*/ 145453 h 145878"/>
                  <a:gd name="connsiteX37" fmla="*/ 72940 w 145879"/>
                  <a:gd name="connsiteY37" fmla="*/ 145879 h 145878"/>
                  <a:gd name="connsiteX38" fmla="*/ 102996 w 145879"/>
                  <a:gd name="connsiteY38" fmla="*/ 145453 h 145878"/>
                  <a:gd name="connsiteX39" fmla="*/ 120698 w 145879"/>
                  <a:gd name="connsiteY39" fmla="*/ 142045 h 145878"/>
                  <a:gd name="connsiteX40" fmla="*/ 133620 w 145879"/>
                  <a:gd name="connsiteY40" fmla="*/ 133620 h 145878"/>
                  <a:gd name="connsiteX41" fmla="*/ 142045 w 145879"/>
                  <a:gd name="connsiteY41" fmla="*/ 120698 h 145878"/>
                  <a:gd name="connsiteX42" fmla="*/ 145453 w 145879"/>
                  <a:gd name="connsiteY42" fmla="*/ 102996 h 145878"/>
                  <a:gd name="connsiteX43" fmla="*/ 145879 w 145879"/>
                  <a:gd name="connsiteY43" fmla="*/ 72939 h 145878"/>
                  <a:gd name="connsiteX44" fmla="*/ 145453 w 145879"/>
                  <a:gd name="connsiteY44" fmla="*/ 42883 h 145878"/>
                  <a:gd name="connsiteX45" fmla="*/ 142045 w 145879"/>
                  <a:gd name="connsiteY45" fmla="*/ 25181 h 145878"/>
                  <a:gd name="connsiteX46" fmla="*/ 133620 w 145879"/>
                  <a:gd name="connsiteY46" fmla="*/ 12259 h 145878"/>
                  <a:gd name="connsiteX47" fmla="*/ 120698 w 145879"/>
                  <a:gd name="connsiteY47" fmla="*/ 3834 h 145878"/>
                  <a:gd name="connsiteX48" fmla="*/ 102996 w 145879"/>
                  <a:gd name="connsiteY48" fmla="*/ 426 h 145878"/>
                  <a:gd name="connsiteX49" fmla="*/ 72940 w 145879"/>
                  <a:gd name="connsiteY49" fmla="*/ 0 h 145878"/>
                  <a:gd name="connsiteX50" fmla="*/ 72940 w 145879"/>
                  <a:gd name="connsiteY50" fmla="*/ 0 h 145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45879" h="145878">
                    <a:moveTo>
                      <a:pt x="72940" y="13111"/>
                    </a:moveTo>
                    <a:cubicBezTo>
                      <a:pt x="92393" y="13111"/>
                      <a:pt x="94713" y="13206"/>
                      <a:pt x="102381" y="13537"/>
                    </a:cubicBezTo>
                    <a:cubicBezTo>
                      <a:pt x="109481" y="13868"/>
                      <a:pt x="113362" y="15052"/>
                      <a:pt x="115918" y="16046"/>
                    </a:cubicBezTo>
                    <a:cubicBezTo>
                      <a:pt x="119326" y="17371"/>
                      <a:pt x="121740" y="18933"/>
                      <a:pt x="124296" y="21489"/>
                    </a:cubicBezTo>
                    <a:cubicBezTo>
                      <a:pt x="126852" y="24045"/>
                      <a:pt x="128414" y="26459"/>
                      <a:pt x="129739" y="29867"/>
                    </a:cubicBezTo>
                    <a:cubicBezTo>
                      <a:pt x="130733" y="32423"/>
                      <a:pt x="131916" y="36304"/>
                      <a:pt x="132248" y="43404"/>
                    </a:cubicBezTo>
                    <a:cubicBezTo>
                      <a:pt x="132579" y="51072"/>
                      <a:pt x="132674" y="53391"/>
                      <a:pt x="132674" y="72845"/>
                    </a:cubicBezTo>
                    <a:cubicBezTo>
                      <a:pt x="132674" y="92298"/>
                      <a:pt x="132579" y="94618"/>
                      <a:pt x="132248" y="102286"/>
                    </a:cubicBezTo>
                    <a:cubicBezTo>
                      <a:pt x="131916" y="109385"/>
                      <a:pt x="130733" y="113267"/>
                      <a:pt x="129739" y="115823"/>
                    </a:cubicBezTo>
                    <a:cubicBezTo>
                      <a:pt x="128414" y="119231"/>
                      <a:pt x="126852" y="121645"/>
                      <a:pt x="124296" y="124201"/>
                    </a:cubicBezTo>
                    <a:cubicBezTo>
                      <a:pt x="121740" y="126756"/>
                      <a:pt x="119326" y="128318"/>
                      <a:pt x="115918" y="129644"/>
                    </a:cubicBezTo>
                    <a:cubicBezTo>
                      <a:pt x="113362" y="130638"/>
                      <a:pt x="109481" y="131821"/>
                      <a:pt x="102381" y="132152"/>
                    </a:cubicBezTo>
                    <a:cubicBezTo>
                      <a:pt x="94713" y="132484"/>
                      <a:pt x="92393" y="132578"/>
                      <a:pt x="72940" y="132578"/>
                    </a:cubicBezTo>
                    <a:cubicBezTo>
                      <a:pt x="53486" y="132578"/>
                      <a:pt x="51167" y="132484"/>
                      <a:pt x="43499" y="132152"/>
                    </a:cubicBezTo>
                    <a:cubicBezTo>
                      <a:pt x="36399" y="131821"/>
                      <a:pt x="32518" y="130638"/>
                      <a:pt x="29962" y="129644"/>
                    </a:cubicBezTo>
                    <a:cubicBezTo>
                      <a:pt x="26554" y="128318"/>
                      <a:pt x="24140" y="126756"/>
                      <a:pt x="21584" y="124201"/>
                    </a:cubicBezTo>
                    <a:cubicBezTo>
                      <a:pt x="19028" y="121645"/>
                      <a:pt x="17466" y="119231"/>
                      <a:pt x="16140" y="115823"/>
                    </a:cubicBezTo>
                    <a:cubicBezTo>
                      <a:pt x="15146" y="113267"/>
                      <a:pt x="13963" y="109385"/>
                      <a:pt x="13632" y="102286"/>
                    </a:cubicBezTo>
                    <a:cubicBezTo>
                      <a:pt x="13300" y="94618"/>
                      <a:pt x="13206" y="92298"/>
                      <a:pt x="13206" y="72845"/>
                    </a:cubicBezTo>
                    <a:cubicBezTo>
                      <a:pt x="13206" y="53391"/>
                      <a:pt x="13300" y="51072"/>
                      <a:pt x="13632" y="43404"/>
                    </a:cubicBezTo>
                    <a:cubicBezTo>
                      <a:pt x="13963" y="36304"/>
                      <a:pt x="15146" y="32423"/>
                      <a:pt x="16140" y="29867"/>
                    </a:cubicBezTo>
                    <a:cubicBezTo>
                      <a:pt x="17466" y="26459"/>
                      <a:pt x="19028" y="24045"/>
                      <a:pt x="21584" y="21489"/>
                    </a:cubicBezTo>
                    <a:cubicBezTo>
                      <a:pt x="24140" y="18933"/>
                      <a:pt x="26554" y="17371"/>
                      <a:pt x="29962" y="16046"/>
                    </a:cubicBezTo>
                    <a:cubicBezTo>
                      <a:pt x="32518" y="15052"/>
                      <a:pt x="36399" y="13868"/>
                      <a:pt x="43499" y="13537"/>
                    </a:cubicBezTo>
                    <a:cubicBezTo>
                      <a:pt x="51167" y="13206"/>
                      <a:pt x="53486" y="13111"/>
                      <a:pt x="72940" y="13111"/>
                    </a:cubicBezTo>
                    <a:moveTo>
                      <a:pt x="72940" y="0"/>
                    </a:moveTo>
                    <a:cubicBezTo>
                      <a:pt x="53155" y="0"/>
                      <a:pt x="50646" y="95"/>
                      <a:pt x="42883" y="426"/>
                    </a:cubicBezTo>
                    <a:cubicBezTo>
                      <a:pt x="35121" y="757"/>
                      <a:pt x="29820" y="2035"/>
                      <a:pt x="25181" y="3834"/>
                    </a:cubicBezTo>
                    <a:cubicBezTo>
                      <a:pt x="20400" y="5680"/>
                      <a:pt x="16330" y="8189"/>
                      <a:pt x="12259" y="12259"/>
                    </a:cubicBezTo>
                    <a:cubicBezTo>
                      <a:pt x="8189" y="16330"/>
                      <a:pt x="5727" y="20353"/>
                      <a:pt x="3834" y="25181"/>
                    </a:cubicBezTo>
                    <a:cubicBezTo>
                      <a:pt x="2035" y="29819"/>
                      <a:pt x="805" y="35121"/>
                      <a:pt x="426" y="42883"/>
                    </a:cubicBezTo>
                    <a:cubicBezTo>
                      <a:pt x="95" y="50646"/>
                      <a:pt x="0" y="53154"/>
                      <a:pt x="0" y="72939"/>
                    </a:cubicBezTo>
                    <a:cubicBezTo>
                      <a:pt x="0" y="92724"/>
                      <a:pt x="95" y="95233"/>
                      <a:pt x="426" y="102996"/>
                    </a:cubicBezTo>
                    <a:cubicBezTo>
                      <a:pt x="757" y="110758"/>
                      <a:pt x="2035" y="116059"/>
                      <a:pt x="3834" y="120698"/>
                    </a:cubicBezTo>
                    <a:cubicBezTo>
                      <a:pt x="5680" y="125479"/>
                      <a:pt x="8189" y="129549"/>
                      <a:pt x="12259" y="133620"/>
                    </a:cubicBezTo>
                    <a:cubicBezTo>
                      <a:pt x="16330" y="137690"/>
                      <a:pt x="20353" y="140152"/>
                      <a:pt x="25181" y="142045"/>
                    </a:cubicBezTo>
                    <a:cubicBezTo>
                      <a:pt x="29820" y="143844"/>
                      <a:pt x="35121" y="145074"/>
                      <a:pt x="42883" y="145453"/>
                    </a:cubicBezTo>
                    <a:cubicBezTo>
                      <a:pt x="50646" y="145784"/>
                      <a:pt x="53155" y="145879"/>
                      <a:pt x="72940" y="145879"/>
                    </a:cubicBezTo>
                    <a:cubicBezTo>
                      <a:pt x="92725" y="145879"/>
                      <a:pt x="95233" y="145784"/>
                      <a:pt x="102996" y="145453"/>
                    </a:cubicBezTo>
                    <a:cubicBezTo>
                      <a:pt x="110758" y="145122"/>
                      <a:pt x="116060" y="143844"/>
                      <a:pt x="120698" y="142045"/>
                    </a:cubicBezTo>
                    <a:cubicBezTo>
                      <a:pt x="125479" y="140199"/>
                      <a:pt x="129550" y="137690"/>
                      <a:pt x="133620" y="133620"/>
                    </a:cubicBezTo>
                    <a:cubicBezTo>
                      <a:pt x="137691" y="129549"/>
                      <a:pt x="140152" y="125526"/>
                      <a:pt x="142045" y="120698"/>
                    </a:cubicBezTo>
                    <a:cubicBezTo>
                      <a:pt x="143844" y="116059"/>
                      <a:pt x="145075" y="110758"/>
                      <a:pt x="145453" y="102996"/>
                    </a:cubicBezTo>
                    <a:cubicBezTo>
                      <a:pt x="145785" y="95233"/>
                      <a:pt x="145879" y="92724"/>
                      <a:pt x="145879" y="72939"/>
                    </a:cubicBezTo>
                    <a:cubicBezTo>
                      <a:pt x="145879" y="53154"/>
                      <a:pt x="145785" y="50646"/>
                      <a:pt x="145453" y="42883"/>
                    </a:cubicBezTo>
                    <a:cubicBezTo>
                      <a:pt x="145122" y="35121"/>
                      <a:pt x="143844" y="29819"/>
                      <a:pt x="142045" y="25181"/>
                    </a:cubicBezTo>
                    <a:cubicBezTo>
                      <a:pt x="140199" y="20400"/>
                      <a:pt x="137691" y="16330"/>
                      <a:pt x="133620" y="12259"/>
                    </a:cubicBezTo>
                    <a:cubicBezTo>
                      <a:pt x="129550" y="8189"/>
                      <a:pt x="125526" y="5727"/>
                      <a:pt x="120698" y="3834"/>
                    </a:cubicBezTo>
                    <a:cubicBezTo>
                      <a:pt x="116060" y="2035"/>
                      <a:pt x="110758" y="805"/>
                      <a:pt x="102996" y="426"/>
                    </a:cubicBezTo>
                    <a:cubicBezTo>
                      <a:pt x="95233" y="95"/>
                      <a:pt x="92725" y="0"/>
                      <a:pt x="72940" y="0"/>
                    </a:cubicBezTo>
                    <a:lnTo>
                      <a:pt x="72940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4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orme libre : forme 60">
                <a:extLst>
                  <a:ext uri="{FF2B5EF4-FFF2-40B4-BE49-F238E27FC236}">
                    <a16:creationId xmlns:a16="http://schemas.microsoft.com/office/drawing/2014/main" id="{CA4AB527-503A-4AA5-AFB0-596BF98AE5B6}"/>
                  </a:ext>
                </a:extLst>
              </p:cNvPr>
              <p:cNvSpPr/>
              <p:nvPr/>
            </p:nvSpPr>
            <p:spPr>
              <a:xfrm>
                <a:off x="10827168" y="5697278"/>
                <a:ext cx="74880" cy="74880"/>
              </a:xfrm>
              <a:custGeom>
                <a:avLst/>
                <a:gdLst>
                  <a:gd name="connsiteX0" fmla="*/ 37440 w 74880"/>
                  <a:gd name="connsiteY0" fmla="*/ 0 h 74880"/>
                  <a:gd name="connsiteX1" fmla="*/ 0 w 74880"/>
                  <a:gd name="connsiteY1" fmla="*/ 37440 h 74880"/>
                  <a:gd name="connsiteX2" fmla="*/ 37440 w 74880"/>
                  <a:gd name="connsiteY2" fmla="*/ 74880 h 74880"/>
                  <a:gd name="connsiteX3" fmla="*/ 74880 w 74880"/>
                  <a:gd name="connsiteY3" fmla="*/ 37440 h 74880"/>
                  <a:gd name="connsiteX4" fmla="*/ 37440 w 74880"/>
                  <a:gd name="connsiteY4" fmla="*/ 0 h 74880"/>
                  <a:gd name="connsiteX5" fmla="*/ 37440 w 74880"/>
                  <a:gd name="connsiteY5" fmla="*/ 61722 h 74880"/>
                  <a:gd name="connsiteX6" fmla="*/ 13158 w 74880"/>
                  <a:gd name="connsiteY6" fmla="*/ 37440 h 74880"/>
                  <a:gd name="connsiteX7" fmla="*/ 37440 w 74880"/>
                  <a:gd name="connsiteY7" fmla="*/ 13158 h 74880"/>
                  <a:gd name="connsiteX8" fmla="*/ 61722 w 74880"/>
                  <a:gd name="connsiteY8" fmla="*/ 37440 h 74880"/>
                  <a:gd name="connsiteX9" fmla="*/ 37440 w 74880"/>
                  <a:gd name="connsiteY9" fmla="*/ 61722 h 74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4880" h="74880">
                    <a:moveTo>
                      <a:pt x="37440" y="0"/>
                    </a:moveTo>
                    <a:cubicBezTo>
                      <a:pt x="16756" y="0"/>
                      <a:pt x="0" y="16756"/>
                      <a:pt x="0" y="37440"/>
                    </a:cubicBezTo>
                    <a:cubicBezTo>
                      <a:pt x="0" y="58124"/>
                      <a:pt x="16756" y="74880"/>
                      <a:pt x="37440" y="74880"/>
                    </a:cubicBezTo>
                    <a:cubicBezTo>
                      <a:pt x="58125" y="74880"/>
                      <a:pt x="74880" y="58124"/>
                      <a:pt x="74880" y="37440"/>
                    </a:cubicBezTo>
                    <a:cubicBezTo>
                      <a:pt x="74880" y="16756"/>
                      <a:pt x="58125" y="0"/>
                      <a:pt x="37440" y="0"/>
                    </a:cubicBezTo>
                    <a:close/>
                    <a:moveTo>
                      <a:pt x="37440" y="61722"/>
                    </a:moveTo>
                    <a:cubicBezTo>
                      <a:pt x="23998" y="61722"/>
                      <a:pt x="13158" y="50835"/>
                      <a:pt x="13158" y="37440"/>
                    </a:cubicBezTo>
                    <a:cubicBezTo>
                      <a:pt x="13158" y="23998"/>
                      <a:pt x="24045" y="13158"/>
                      <a:pt x="37440" y="13158"/>
                    </a:cubicBezTo>
                    <a:cubicBezTo>
                      <a:pt x="50883" y="13158"/>
                      <a:pt x="61722" y="24045"/>
                      <a:pt x="61722" y="37440"/>
                    </a:cubicBezTo>
                    <a:cubicBezTo>
                      <a:pt x="61722" y="50882"/>
                      <a:pt x="50883" y="61722"/>
                      <a:pt x="37440" y="6172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4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orme libre : forme 61">
                <a:extLst>
                  <a:ext uri="{FF2B5EF4-FFF2-40B4-BE49-F238E27FC236}">
                    <a16:creationId xmlns:a16="http://schemas.microsoft.com/office/drawing/2014/main" id="{59DD5A2E-3850-4256-BB56-EA6E209030B4}"/>
                  </a:ext>
                </a:extLst>
              </p:cNvPr>
              <p:cNvSpPr/>
              <p:nvPr/>
            </p:nvSpPr>
            <p:spPr>
              <a:xfrm>
                <a:off x="10894759" y="5687054"/>
                <a:ext cx="17513" cy="17513"/>
              </a:xfrm>
              <a:custGeom>
                <a:avLst/>
                <a:gdLst>
                  <a:gd name="connsiteX0" fmla="*/ 17513 w 17513"/>
                  <a:gd name="connsiteY0" fmla="*/ 8757 h 17513"/>
                  <a:gd name="connsiteX1" fmla="*/ 8757 w 17513"/>
                  <a:gd name="connsiteY1" fmla="*/ 17513 h 17513"/>
                  <a:gd name="connsiteX2" fmla="*/ 0 w 17513"/>
                  <a:gd name="connsiteY2" fmla="*/ 8757 h 17513"/>
                  <a:gd name="connsiteX3" fmla="*/ 8757 w 17513"/>
                  <a:gd name="connsiteY3" fmla="*/ 0 h 17513"/>
                  <a:gd name="connsiteX4" fmla="*/ 17513 w 17513"/>
                  <a:gd name="connsiteY4" fmla="*/ 8757 h 17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13" h="17513">
                    <a:moveTo>
                      <a:pt x="17513" y="8757"/>
                    </a:moveTo>
                    <a:cubicBezTo>
                      <a:pt x="17513" y="13593"/>
                      <a:pt x="13593" y="17513"/>
                      <a:pt x="8757" y="17513"/>
                    </a:cubicBezTo>
                    <a:cubicBezTo>
                      <a:pt x="3920" y="17513"/>
                      <a:pt x="0" y="13593"/>
                      <a:pt x="0" y="8757"/>
                    </a:cubicBezTo>
                    <a:cubicBezTo>
                      <a:pt x="0" y="3920"/>
                      <a:pt x="3920" y="0"/>
                      <a:pt x="8757" y="0"/>
                    </a:cubicBezTo>
                    <a:cubicBezTo>
                      <a:pt x="13593" y="0"/>
                      <a:pt x="17513" y="3920"/>
                      <a:pt x="17513" y="875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4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A3D8C0AE-D210-4326-A90C-139C2244DB1B}"/>
                </a:ext>
              </a:extLst>
            </p:cNvPr>
            <p:cNvSpPr/>
            <p:nvPr/>
          </p:nvSpPr>
          <p:spPr>
            <a:xfrm>
              <a:off x="9837772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58 w 289676"/>
                <a:gd name="connsiteY5" fmla="*/ 144838 h 289675"/>
                <a:gd name="connsiteX6" fmla="*/ 144838 w 289676"/>
                <a:gd name="connsiteY6" fmla="*/ 13158 h 289675"/>
                <a:gd name="connsiteX7" fmla="*/ 276518 w 289676"/>
                <a:gd name="connsiteY7" fmla="*/ 144838 h 289675"/>
                <a:gd name="connsiteX8" fmla="*/ 144838 w 289676"/>
                <a:gd name="connsiteY8" fmla="*/ 276517 h 289675"/>
                <a:gd name="connsiteX9" fmla="*/ 13158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6"/>
                    <a:pt x="224830" y="0"/>
                    <a:pt x="144838" y="0"/>
                  </a:cubicBezTo>
                  <a:cubicBezTo>
                    <a:pt x="64846" y="0"/>
                    <a:pt x="0" y="64846"/>
                    <a:pt x="0" y="144838"/>
                  </a:cubicBezTo>
                  <a:cubicBezTo>
                    <a:pt x="0" y="224829"/>
                    <a:pt x="64846" y="289675"/>
                    <a:pt x="144838" y="289675"/>
                  </a:cubicBezTo>
                  <a:cubicBezTo>
                    <a:pt x="224830" y="289675"/>
                    <a:pt x="289676" y="224829"/>
                    <a:pt x="289676" y="144838"/>
                  </a:cubicBezTo>
                  <a:close/>
                  <a:moveTo>
                    <a:pt x="13158" y="144838"/>
                  </a:moveTo>
                  <a:cubicBezTo>
                    <a:pt x="13158" y="72135"/>
                    <a:pt x="72135" y="13158"/>
                    <a:pt x="144838" y="13158"/>
                  </a:cubicBezTo>
                  <a:cubicBezTo>
                    <a:pt x="217541" y="13158"/>
                    <a:pt x="276518" y="72135"/>
                    <a:pt x="276518" y="144838"/>
                  </a:cubicBezTo>
                  <a:cubicBezTo>
                    <a:pt x="276518" y="217540"/>
                    <a:pt x="217541" y="276517"/>
                    <a:pt x="144838" y="276517"/>
                  </a:cubicBezTo>
                  <a:cubicBezTo>
                    <a:pt x="72135" y="276517"/>
                    <a:pt x="13158" y="217540"/>
                    <a:pt x="13158" y="144838"/>
                  </a:cubicBezTo>
                  <a:close/>
                </a:path>
              </a:pathLst>
            </a:custGeom>
            <a:solidFill>
              <a:schemeClr val="accent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E6586095-9421-41BF-82EA-258F12C77646}"/>
                </a:ext>
              </a:extLst>
            </p:cNvPr>
            <p:cNvSpPr/>
            <p:nvPr/>
          </p:nvSpPr>
          <p:spPr>
            <a:xfrm>
              <a:off x="9925810" y="5667979"/>
              <a:ext cx="124484" cy="118946"/>
            </a:xfrm>
            <a:custGeom>
              <a:avLst/>
              <a:gdLst>
                <a:gd name="connsiteX0" fmla="*/ 124485 w 124484"/>
                <a:gd name="connsiteY0" fmla="*/ 72939 h 118946"/>
                <a:gd name="connsiteX1" fmla="*/ 124485 w 124484"/>
                <a:gd name="connsiteY1" fmla="*/ 118947 h 118946"/>
                <a:gd name="connsiteX2" fmla="*/ 97789 w 124484"/>
                <a:gd name="connsiteY2" fmla="*/ 118947 h 118946"/>
                <a:gd name="connsiteX3" fmla="*/ 97789 w 124484"/>
                <a:gd name="connsiteY3" fmla="*/ 76016 h 118946"/>
                <a:gd name="connsiteX4" fmla="*/ 84252 w 124484"/>
                <a:gd name="connsiteY4" fmla="*/ 57888 h 118946"/>
                <a:gd name="connsiteX5" fmla="*/ 70573 w 124484"/>
                <a:gd name="connsiteY5" fmla="*/ 67638 h 118946"/>
                <a:gd name="connsiteX6" fmla="*/ 69674 w 124484"/>
                <a:gd name="connsiteY6" fmla="*/ 74123 h 118946"/>
                <a:gd name="connsiteX7" fmla="*/ 69674 w 124484"/>
                <a:gd name="connsiteY7" fmla="*/ 118947 h 118946"/>
                <a:gd name="connsiteX8" fmla="*/ 42978 w 124484"/>
                <a:gd name="connsiteY8" fmla="*/ 118947 h 118946"/>
                <a:gd name="connsiteX9" fmla="*/ 42978 w 124484"/>
                <a:gd name="connsiteY9" fmla="*/ 38671 h 118946"/>
                <a:gd name="connsiteX10" fmla="*/ 69674 w 124484"/>
                <a:gd name="connsiteY10" fmla="*/ 38671 h 118946"/>
                <a:gd name="connsiteX11" fmla="*/ 69674 w 124484"/>
                <a:gd name="connsiteY11" fmla="*/ 50030 h 118946"/>
                <a:gd name="connsiteX12" fmla="*/ 69484 w 124484"/>
                <a:gd name="connsiteY12" fmla="*/ 50267 h 118946"/>
                <a:gd name="connsiteX13" fmla="*/ 69674 w 124484"/>
                <a:gd name="connsiteY13" fmla="*/ 50267 h 118946"/>
                <a:gd name="connsiteX14" fmla="*/ 69674 w 124484"/>
                <a:gd name="connsiteY14" fmla="*/ 50030 h 118946"/>
                <a:gd name="connsiteX15" fmla="*/ 93719 w 124484"/>
                <a:gd name="connsiteY15" fmla="*/ 36777 h 118946"/>
                <a:gd name="connsiteX16" fmla="*/ 124485 w 124484"/>
                <a:gd name="connsiteY16" fmla="*/ 72939 h 118946"/>
                <a:gd name="connsiteX17" fmla="*/ 15099 w 124484"/>
                <a:gd name="connsiteY17" fmla="*/ 0 h 118946"/>
                <a:gd name="connsiteX18" fmla="*/ 0 w 124484"/>
                <a:gd name="connsiteY18" fmla="*/ 13868 h 118946"/>
                <a:gd name="connsiteX19" fmla="*/ 14768 w 124484"/>
                <a:gd name="connsiteY19" fmla="*/ 27737 h 118946"/>
                <a:gd name="connsiteX20" fmla="*/ 14957 w 124484"/>
                <a:gd name="connsiteY20" fmla="*/ 27737 h 118946"/>
                <a:gd name="connsiteX21" fmla="*/ 30056 w 124484"/>
                <a:gd name="connsiteY21" fmla="*/ 13868 h 118946"/>
                <a:gd name="connsiteX22" fmla="*/ 15099 w 124484"/>
                <a:gd name="connsiteY22" fmla="*/ 0 h 118946"/>
                <a:gd name="connsiteX23" fmla="*/ 1609 w 124484"/>
                <a:gd name="connsiteY23" fmla="*/ 118947 h 118946"/>
                <a:gd name="connsiteX24" fmla="*/ 28305 w 124484"/>
                <a:gd name="connsiteY24" fmla="*/ 118947 h 118946"/>
                <a:gd name="connsiteX25" fmla="*/ 28305 w 124484"/>
                <a:gd name="connsiteY25" fmla="*/ 38671 h 118946"/>
                <a:gd name="connsiteX26" fmla="*/ 1609 w 124484"/>
                <a:gd name="connsiteY26" fmla="*/ 38671 h 118946"/>
                <a:gd name="connsiteX27" fmla="*/ 1609 w 124484"/>
                <a:gd name="connsiteY27" fmla="*/ 118947 h 11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24484" h="118946">
                  <a:moveTo>
                    <a:pt x="124485" y="72939"/>
                  </a:moveTo>
                  <a:lnTo>
                    <a:pt x="124485" y="118947"/>
                  </a:lnTo>
                  <a:lnTo>
                    <a:pt x="97789" y="118947"/>
                  </a:lnTo>
                  <a:lnTo>
                    <a:pt x="97789" y="76016"/>
                  </a:lnTo>
                  <a:cubicBezTo>
                    <a:pt x="97789" y="65224"/>
                    <a:pt x="93908" y="57888"/>
                    <a:pt x="84252" y="57888"/>
                  </a:cubicBezTo>
                  <a:cubicBezTo>
                    <a:pt x="76868" y="57888"/>
                    <a:pt x="72514" y="62858"/>
                    <a:pt x="70573" y="67638"/>
                  </a:cubicBezTo>
                  <a:cubicBezTo>
                    <a:pt x="69863" y="69342"/>
                    <a:pt x="69674" y="71756"/>
                    <a:pt x="69674" y="74123"/>
                  </a:cubicBezTo>
                  <a:lnTo>
                    <a:pt x="69674" y="118947"/>
                  </a:lnTo>
                  <a:lnTo>
                    <a:pt x="42978" y="118947"/>
                  </a:lnTo>
                  <a:cubicBezTo>
                    <a:pt x="42978" y="118947"/>
                    <a:pt x="43357" y="46244"/>
                    <a:pt x="42978" y="38671"/>
                  </a:cubicBezTo>
                  <a:lnTo>
                    <a:pt x="69674" y="38671"/>
                  </a:lnTo>
                  <a:lnTo>
                    <a:pt x="69674" y="50030"/>
                  </a:lnTo>
                  <a:cubicBezTo>
                    <a:pt x="69626" y="50125"/>
                    <a:pt x="69532" y="50220"/>
                    <a:pt x="69484" y="50267"/>
                  </a:cubicBezTo>
                  <a:lnTo>
                    <a:pt x="69674" y="50267"/>
                  </a:lnTo>
                  <a:lnTo>
                    <a:pt x="69674" y="50030"/>
                  </a:lnTo>
                  <a:cubicBezTo>
                    <a:pt x="73224" y="44587"/>
                    <a:pt x="79566" y="36777"/>
                    <a:pt x="93719" y="36777"/>
                  </a:cubicBezTo>
                  <a:cubicBezTo>
                    <a:pt x="111326" y="36825"/>
                    <a:pt x="124485" y="48279"/>
                    <a:pt x="124485" y="72939"/>
                  </a:cubicBezTo>
                  <a:close/>
                  <a:moveTo>
                    <a:pt x="15099" y="0"/>
                  </a:moveTo>
                  <a:cubicBezTo>
                    <a:pt x="5964" y="0"/>
                    <a:pt x="0" y="6011"/>
                    <a:pt x="0" y="13868"/>
                  </a:cubicBezTo>
                  <a:cubicBezTo>
                    <a:pt x="0" y="21584"/>
                    <a:pt x="5822" y="27737"/>
                    <a:pt x="14768" y="27737"/>
                  </a:cubicBezTo>
                  <a:lnTo>
                    <a:pt x="14957" y="27737"/>
                  </a:lnTo>
                  <a:cubicBezTo>
                    <a:pt x="24282" y="27737"/>
                    <a:pt x="30056" y="21584"/>
                    <a:pt x="30056" y="13868"/>
                  </a:cubicBezTo>
                  <a:cubicBezTo>
                    <a:pt x="29867" y="6011"/>
                    <a:pt x="24234" y="0"/>
                    <a:pt x="15099" y="0"/>
                  </a:cubicBezTo>
                  <a:close/>
                  <a:moveTo>
                    <a:pt x="1609" y="118947"/>
                  </a:moveTo>
                  <a:lnTo>
                    <a:pt x="28305" y="118947"/>
                  </a:lnTo>
                  <a:lnTo>
                    <a:pt x="28305" y="38671"/>
                  </a:lnTo>
                  <a:lnTo>
                    <a:pt x="1609" y="38671"/>
                  </a:lnTo>
                  <a:lnTo>
                    <a:pt x="1609" y="118947"/>
                  </a:lnTo>
                  <a:close/>
                </a:path>
              </a:pathLst>
            </a:custGeom>
            <a:solidFill>
              <a:schemeClr val="accent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10B8784F-922D-4B87-8E32-2C627BDF67D9}"/>
                </a:ext>
              </a:extLst>
            </p:cNvPr>
            <p:cNvSpPr/>
            <p:nvPr/>
          </p:nvSpPr>
          <p:spPr>
            <a:xfrm>
              <a:off x="10278534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58 w 289676"/>
                <a:gd name="connsiteY5" fmla="*/ 144838 h 289675"/>
                <a:gd name="connsiteX6" fmla="*/ 144838 w 289676"/>
                <a:gd name="connsiteY6" fmla="*/ 13158 h 289675"/>
                <a:gd name="connsiteX7" fmla="*/ 276518 w 289676"/>
                <a:gd name="connsiteY7" fmla="*/ 144838 h 289675"/>
                <a:gd name="connsiteX8" fmla="*/ 144838 w 289676"/>
                <a:gd name="connsiteY8" fmla="*/ 276517 h 289675"/>
                <a:gd name="connsiteX9" fmla="*/ 13158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6"/>
                    <a:pt x="224830" y="0"/>
                    <a:pt x="144838" y="0"/>
                  </a:cubicBezTo>
                  <a:cubicBezTo>
                    <a:pt x="64846" y="0"/>
                    <a:pt x="0" y="64846"/>
                    <a:pt x="0" y="144838"/>
                  </a:cubicBezTo>
                  <a:cubicBezTo>
                    <a:pt x="0" y="224829"/>
                    <a:pt x="64846" y="289675"/>
                    <a:pt x="144838" y="289675"/>
                  </a:cubicBezTo>
                  <a:cubicBezTo>
                    <a:pt x="224830" y="289675"/>
                    <a:pt x="289676" y="224829"/>
                    <a:pt x="289676" y="144838"/>
                  </a:cubicBezTo>
                  <a:close/>
                  <a:moveTo>
                    <a:pt x="13158" y="144838"/>
                  </a:moveTo>
                  <a:cubicBezTo>
                    <a:pt x="13158" y="72135"/>
                    <a:pt x="72135" y="13158"/>
                    <a:pt x="144838" y="13158"/>
                  </a:cubicBezTo>
                  <a:cubicBezTo>
                    <a:pt x="217541" y="13158"/>
                    <a:pt x="276518" y="72135"/>
                    <a:pt x="276518" y="144838"/>
                  </a:cubicBezTo>
                  <a:cubicBezTo>
                    <a:pt x="276518" y="217540"/>
                    <a:pt x="217541" y="276517"/>
                    <a:pt x="144838" y="276517"/>
                  </a:cubicBezTo>
                  <a:cubicBezTo>
                    <a:pt x="72135" y="276517"/>
                    <a:pt x="13158" y="217540"/>
                    <a:pt x="13158" y="144838"/>
                  </a:cubicBezTo>
                  <a:close/>
                </a:path>
              </a:pathLst>
            </a:custGeom>
            <a:solidFill>
              <a:schemeClr val="accent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07CE6BC7-90A7-4B68-8501-048172F76B87}"/>
                </a:ext>
              </a:extLst>
            </p:cNvPr>
            <p:cNvSpPr/>
            <p:nvPr/>
          </p:nvSpPr>
          <p:spPr>
            <a:xfrm>
              <a:off x="10350290" y="5683505"/>
              <a:ext cx="148529" cy="104604"/>
            </a:xfrm>
            <a:custGeom>
              <a:avLst/>
              <a:gdLst>
                <a:gd name="connsiteX0" fmla="*/ 145406 w 148529"/>
                <a:gd name="connsiteY0" fmla="*/ 16330 h 104604"/>
                <a:gd name="connsiteX1" fmla="*/ 132295 w 148529"/>
                <a:gd name="connsiteY1" fmla="*/ 3124 h 104604"/>
                <a:gd name="connsiteX2" fmla="*/ 74265 w 148529"/>
                <a:gd name="connsiteY2" fmla="*/ 0 h 104604"/>
                <a:gd name="connsiteX3" fmla="*/ 16235 w 148529"/>
                <a:gd name="connsiteY3" fmla="*/ 3124 h 104604"/>
                <a:gd name="connsiteX4" fmla="*/ 3124 w 148529"/>
                <a:gd name="connsiteY4" fmla="*/ 16330 h 104604"/>
                <a:gd name="connsiteX5" fmla="*/ 0 w 148529"/>
                <a:gd name="connsiteY5" fmla="*/ 52302 h 104604"/>
                <a:gd name="connsiteX6" fmla="*/ 3124 w 148529"/>
                <a:gd name="connsiteY6" fmla="*/ 88275 h 104604"/>
                <a:gd name="connsiteX7" fmla="*/ 16235 w 148529"/>
                <a:gd name="connsiteY7" fmla="*/ 101481 h 104604"/>
                <a:gd name="connsiteX8" fmla="*/ 74265 w 148529"/>
                <a:gd name="connsiteY8" fmla="*/ 104605 h 104604"/>
                <a:gd name="connsiteX9" fmla="*/ 132295 w 148529"/>
                <a:gd name="connsiteY9" fmla="*/ 101481 h 104604"/>
                <a:gd name="connsiteX10" fmla="*/ 145406 w 148529"/>
                <a:gd name="connsiteY10" fmla="*/ 88275 h 104604"/>
                <a:gd name="connsiteX11" fmla="*/ 148530 w 148529"/>
                <a:gd name="connsiteY11" fmla="*/ 52302 h 104604"/>
                <a:gd name="connsiteX12" fmla="*/ 145406 w 148529"/>
                <a:gd name="connsiteY12" fmla="*/ 16330 h 104604"/>
                <a:gd name="connsiteX13" fmla="*/ 59071 w 148529"/>
                <a:gd name="connsiteY13" fmla="*/ 74407 h 104604"/>
                <a:gd name="connsiteX14" fmla="*/ 59071 w 148529"/>
                <a:gd name="connsiteY14" fmla="*/ 30245 h 104604"/>
                <a:gd name="connsiteX15" fmla="*/ 97884 w 148529"/>
                <a:gd name="connsiteY15" fmla="*/ 52302 h 104604"/>
                <a:gd name="connsiteX16" fmla="*/ 59071 w 148529"/>
                <a:gd name="connsiteY16" fmla="*/ 74407 h 104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8529" h="104604">
                  <a:moveTo>
                    <a:pt x="145406" y="16330"/>
                  </a:moveTo>
                  <a:cubicBezTo>
                    <a:pt x="143702" y="9892"/>
                    <a:pt x="138685" y="4828"/>
                    <a:pt x="132295" y="3124"/>
                  </a:cubicBezTo>
                  <a:cubicBezTo>
                    <a:pt x="120698" y="0"/>
                    <a:pt x="74265" y="0"/>
                    <a:pt x="74265" y="0"/>
                  </a:cubicBezTo>
                  <a:cubicBezTo>
                    <a:pt x="74265" y="0"/>
                    <a:pt x="27832" y="0"/>
                    <a:pt x="16235" y="3124"/>
                  </a:cubicBezTo>
                  <a:cubicBezTo>
                    <a:pt x="9845" y="4828"/>
                    <a:pt x="4828" y="9892"/>
                    <a:pt x="3124" y="16330"/>
                  </a:cubicBezTo>
                  <a:cubicBezTo>
                    <a:pt x="0" y="27974"/>
                    <a:pt x="0" y="52302"/>
                    <a:pt x="0" y="52302"/>
                  </a:cubicBezTo>
                  <a:cubicBezTo>
                    <a:pt x="0" y="52302"/>
                    <a:pt x="0" y="76631"/>
                    <a:pt x="3124" y="88275"/>
                  </a:cubicBezTo>
                  <a:cubicBezTo>
                    <a:pt x="4828" y="94712"/>
                    <a:pt x="9845" y="99777"/>
                    <a:pt x="16235" y="101481"/>
                  </a:cubicBezTo>
                  <a:cubicBezTo>
                    <a:pt x="27832" y="104605"/>
                    <a:pt x="74265" y="104605"/>
                    <a:pt x="74265" y="104605"/>
                  </a:cubicBezTo>
                  <a:cubicBezTo>
                    <a:pt x="74265" y="104605"/>
                    <a:pt x="120698" y="104605"/>
                    <a:pt x="132295" y="101481"/>
                  </a:cubicBezTo>
                  <a:cubicBezTo>
                    <a:pt x="138685" y="99777"/>
                    <a:pt x="143702" y="94712"/>
                    <a:pt x="145406" y="88275"/>
                  </a:cubicBezTo>
                  <a:cubicBezTo>
                    <a:pt x="148530" y="76631"/>
                    <a:pt x="148530" y="52302"/>
                    <a:pt x="148530" y="52302"/>
                  </a:cubicBezTo>
                  <a:cubicBezTo>
                    <a:pt x="148530" y="52302"/>
                    <a:pt x="148483" y="28021"/>
                    <a:pt x="145406" y="16330"/>
                  </a:cubicBezTo>
                  <a:close/>
                  <a:moveTo>
                    <a:pt x="59071" y="74407"/>
                  </a:moveTo>
                  <a:lnTo>
                    <a:pt x="59071" y="30245"/>
                  </a:lnTo>
                  <a:lnTo>
                    <a:pt x="97884" y="52302"/>
                  </a:lnTo>
                  <a:lnTo>
                    <a:pt x="59071" y="74407"/>
                  </a:lnTo>
                  <a:close/>
                </a:path>
              </a:pathLst>
            </a:custGeom>
            <a:solidFill>
              <a:schemeClr val="accent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DD06820F-3913-4DC3-A382-9F9DE5F93EE7}"/>
                </a:ext>
              </a:extLst>
            </p:cNvPr>
            <p:cNvSpPr/>
            <p:nvPr/>
          </p:nvSpPr>
          <p:spPr>
            <a:xfrm>
              <a:off x="10719297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58 w 289676"/>
                <a:gd name="connsiteY5" fmla="*/ 144838 h 289675"/>
                <a:gd name="connsiteX6" fmla="*/ 144838 w 289676"/>
                <a:gd name="connsiteY6" fmla="*/ 13158 h 289675"/>
                <a:gd name="connsiteX7" fmla="*/ 276518 w 289676"/>
                <a:gd name="connsiteY7" fmla="*/ 144838 h 289675"/>
                <a:gd name="connsiteX8" fmla="*/ 144838 w 289676"/>
                <a:gd name="connsiteY8" fmla="*/ 276517 h 289675"/>
                <a:gd name="connsiteX9" fmla="*/ 13158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6"/>
                    <a:pt x="224830" y="0"/>
                    <a:pt x="144838" y="0"/>
                  </a:cubicBezTo>
                  <a:cubicBezTo>
                    <a:pt x="64846" y="0"/>
                    <a:pt x="0" y="64846"/>
                    <a:pt x="0" y="144838"/>
                  </a:cubicBezTo>
                  <a:cubicBezTo>
                    <a:pt x="0" y="224829"/>
                    <a:pt x="64846" y="289675"/>
                    <a:pt x="144838" y="289675"/>
                  </a:cubicBezTo>
                  <a:cubicBezTo>
                    <a:pt x="224830" y="289675"/>
                    <a:pt x="289676" y="224829"/>
                    <a:pt x="289676" y="144838"/>
                  </a:cubicBezTo>
                  <a:close/>
                  <a:moveTo>
                    <a:pt x="13158" y="144838"/>
                  </a:moveTo>
                  <a:cubicBezTo>
                    <a:pt x="13158" y="72135"/>
                    <a:pt x="72135" y="13158"/>
                    <a:pt x="144838" y="13158"/>
                  </a:cubicBezTo>
                  <a:cubicBezTo>
                    <a:pt x="217541" y="13158"/>
                    <a:pt x="276518" y="72135"/>
                    <a:pt x="276518" y="144838"/>
                  </a:cubicBezTo>
                  <a:cubicBezTo>
                    <a:pt x="276518" y="217540"/>
                    <a:pt x="217541" y="276517"/>
                    <a:pt x="144838" y="276517"/>
                  </a:cubicBezTo>
                  <a:cubicBezTo>
                    <a:pt x="72135" y="276517"/>
                    <a:pt x="13158" y="217540"/>
                    <a:pt x="13158" y="144838"/>
                  </a:cubicBezTo>
                  <a:close/>
                </a:path>
              </a:pathLst>
            </a:custGeom>
            <a:solidFill>
              <a:schemeClr val="accent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8D57300B-2DA3-472E-9CDF-2BF86787BFB1}"/>
                </a:ext>
              </a:extLst>
            </p:cNvPr>
            <p:cNvSpPr/>
            <p:nvPr/>
          </p:nvSpPr>
          <p:spPr>
            <a:xfrm>
              <a:off x="9463871" y="5667392"/>
              <a:ext cx="155965" cy="133701"/>
            </a:xfrm>
            <a:custGeom>
              <a:avLst/>
              <a:gdLst>
                <a:gd name="connsiteX0" fmla="*/ 140086 w 155965"/>
                <a:gd name="connsiteY0" fmla="*/ 38057 h 133701"/>
                <a:gd name="connsiteX1" fmla="*/ 139994 w 155965"/>
                <a:gd name="connsiteY1" fmla="*/ 33712 h 133701"/>
                <a:gd name="connsiteX2" fmla="*/ 155965 w 155965"/>
                <a:gd name="connsiteY2" fmla="*/ 16542 h 133701"/>
                <a:gd name="connsiteX3" fmla="*/ 137584 w 155965"/>
                <a:gd name="connsiteY3" fmla="*/ 21572 h 133701"/>
                <a:gd name="connsiteX4" fmla="*/ 151660 w 155965"/>
                <a:gd name="connsiteY4" fmla="*/ 3191 h 133701"/>
                <a:gd name="connsiteX5" fmla="*/ 131343 w 155965"/>
                <a:gd name="connsiteY5" fmla="*/ 11025 h 133701"/>
                <a:gd name="connsiteX6" fmla="*/ 107984 w 155965"/>
                <a:gd name="connsiteY6" fmla="*/ 4 h 133701"/>
                <a:gd name="connsiteX7" fmla="*/ 75988 w 155965"/>
                <a:gd name="connsiteY7" fmla="*/ 33356 h 133701"/>
                <a:gd name="connsiteX8" fmla="*/ 76817 w 155965"/>
                <a:gd name="connsiteY8" fmla="*/ 41085 h 133701"/>
                <a:gd name="connsiteX9" fmla="*/ 10850 w 155965"/>
                <a:gd name="connsiteY9" fmla="*/ 4639 h 133701"/>
                <a:gd name="connsiteX10" fmla="*/ 6518 w 155965"/>
                <a:gd name="connsiteY10" fmla="*/ 21756 h 133701"/>
                <a:gd name="connsiteX11" fmla="*/ 20752 w 155965"/>
                <a:gd name="connsiteY11" fmla="*/ 50355 h 133701"/>
                <a:gd name="connsiteX12" fmla="*/ 6255 w 155965"/>
                <a:gd name="connsiteY12" fmla="*/ 45918 h 133701"/>
                <a:gd name="connsiteX13" fmla="*/ 6255 w 155965"/>
                <a:gd name="connsiteY13" fmla="*/ 46352 h 133701"/>
                <a:gd name="connsiteX14" fmla="*/ 31931 w 155965"/>
                <a:gd name="connsiteY14" fmla="*/ 80033 h 133701"/>
                <a:gd name="connsiteX15" fmla="*/ 23504 w 155965"/>
                <a:gd name="connsiteY15" fmla="*/ 81179 h 133701"/>
                <a:gd name="connsiteX16" fmla="*/ 17486 w 155965"/>
                <a:gd name="connsiteY16" fmla="*/ 80521 h 133701"/>
                <a:gd name="connsiteX17" fmla="*/ 47375 w 155965"/>
                <a:gd name="connsiteY17" fmla="*/ 104340 h 133701"/>
                <a:gd name="connsiteX18" fmla="*/ 7637 w 155965"/>
                <a:gd name="connsiteY18" fmla="*/ 118810 h 133701"/>
                <a:gd name="connsiteX19" fmla="*/ 0 w 155965"/>
                <a:gd name="connsiteY19" fmla="*/ 118323 h 133701"/>
                <a:gd name="connsiteX20" fmla="*/ 49060 w 155965"/>
                <a:gd name="connsiteY20" fmla="*/ 133702 h 133701"/>
                <a:gd name="connsiteX21" fmla="*/ 140086 w 155965"/>
                <a:gd name="connsiteY21" fmla="*/ 38057 h 133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5965" h="133701">
                  <a:moveTo>
                    <a:pt x="140086" y="38057"/>
                  </a:moveTo>
                  <a:cubicBezTo>
                    <a:pt x="140086" y="36595"/>
                    <a:pt x="140059" y="35147"/>
                    <a:pt x="139994" y="33712"/>
                  </a:cubicBezTo>
                  <a:cubicBezTo>
                    <a:pt x="146248" y="29051"/>
                    <a:pt x="151673" y="23218"/>
                    <a:pt x="155965" y="16542"/>
                  </a:cubicBezTo>
                  <a:cubicBezTo>
                    <a:pt x="150224" y="19123"/>
                    <a:pt x="144062" y="20848"/>
                    <a:pt x="137584" y="21572"/>
                  </a:cubicBezTo>
                  <a:cubicBezTo>
                    <a:pt x="144194" y="17503"/>
                    <a:pt x="149263" y="10999"/>
                    <a:pt x="151660" y="3191"/>
                  </a:cubicBezTo>
                  <a:cubicBezTo>
                    <a:pt x="145471" y="6943"/>
                    <a:pt x="138624" y="9629"/>
                    <a:pt x="131343" y="11025"/>
                  </a:cubicBezTo>
                  <a:cubicBezTo>
                    <a:pt x="125510" y="4389"/>
                    <a:pt x="117188" y="162"/>
                    <a:pt x="107984" y="4"/>
                  </a:cubicBezTo>
                  <a:cubicBezTo>
                    <a:pt x="90314" y="-286"/>
                    <a:pt x="75988" y="14646"/>
                    <a:pt x="75988" y="33356"/>
                  </a:cubicBezTo>
                  <a:cubicBezTo>
                    <a:pt x="75988" y="36016"/>
                    <a:pt x="76264" y="38597"/>
                    <a:pt x="76817" y="41085"/>
                  </a:cubicBezTo>
                  <a:cubicBezTo>
                    <a:pt x="50207" y="39373"/>
                    <a:pt x="26625" y="25522"/>
                    <a:pt x="10850" y="4639"/>
                  </a:cubicBezTo>
                  <a:cubicBezTo>
                    <a:pt x="8098" y="9642"/>
                    <a:pt x="6518" y="15489"/>
                    <a:pt x="6518" y="21756"/>
                  </a:cubicBezTo>
                  <a:cubicBezTo>
                    <a:pt x="6518" y="33607"/>
                    <a:pt x="12167" y="44140"/>
                    <a:pt x="20752" y="50355"/>
                  </a:cubicBezTo>
                  <a:cubicBezTo>
                    <a:pt x="15498" y="50118"/>
                    <a:pt x="10574" y="48525"/>
                    <a:pt x="6255" y="45918"/>
                  </a:cubicBezTo>
                  <a:cubicBezTo>
                    <a:pt x="6255" y="46062"/>
                    <a:pt x="6255" y="46207"/>
                    <a:pt x="6255" y="46352"/>
                  </a:cubicBezTo>
                  <a:cubicBezTo>
                    <a:pt x="6255" y="62917"/>
                    <a:pt x="17289" y="76795"/>
                    <a:pt x="31931" y="80033"/>
                  </a:cubicBezTo>
                  <a:cubicBezTo>
                    <a:pt x="29244" y="80797"/>
                    <a:pt x="26414" y="81192"/>
                    <a:pt x="23504" y="81179"/>
                  </a:cubicBezTo>
                  <a:cubicBezTo>
                    <a:pt x="21436" y="81166"/>
                    <a:pt x="19435" y="80942"/>
                    <a:pt x="17486" y="80521"/>
                  </a:cubicBezTo>
                  <a:cubicBezTo>
                    <a:pt x="21555" y="94096"/>
                    <a:pt x="33379" y="104011"/>
                    <a:pt x="47375" y="104340"/>
                  </a:cubicBezTo>
                  <a:cubicBezTo>
                    <a:pt x="36420" y="113425"/>
                    <a:pt x="22621" y="118849"/>
                    <a:pt x="7637" y="118810"/>
                  </a:cubicBezTo>
                  <a:cubicBezTo>
                    <a:pt x="5056" y="118810"/>
                    <a:pt x="2502" y="118639"/>
                    <a:pt x="0" y="118323"/>
                  </a:cubicBezTo>
                  <a:cubicBezTo>
                    <a:pt x="14168" y="128040"/>
                    <a:pt x="30982" y="133702"/>
                    <a:pt x="49060" y="133702"/>
                  </a:cubicBezTo>
                  <a:cubicBezTo>
                    <a:pt x="107905" y="133716"/>
                    <a:pt x="140086" y="82496"/>
                    <a:pt x="140086" y="38057"/>
                  </a:cubicBezTo>
                  <a:close/>
                </a:path>
              </a:pathLst>
            </a:custGeom>
            <a:solidFill>
              <a:schemeClr val="accent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BC6D8760-1680-4C3B-9F94-90EB8B5E577E}"/>
                </a:ext>
              </a:extLst>
            </p:cNvPr>
            <p:cNvSpPr/>
            <p:nvPr/>
          </p:nvSpPr>
          <p:spPr>
            <a:xfrm>
              <a:off x="9397010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67 w 289676"/>
                <a:gd name="connsiteY5" fmla="*/ 144838 h 289675"/>
                <a:gd name="connsiteX6" fmla="*/ 144838 w 289676"/>
                <a:gd name="connsiteY6" fmla="*/ 13167 h 289675"/>
                <a:gd name="connsiteX7" fmla="*/ 276509 w 289676"/>
                <a:gd name="connsiteY7" fmla="*/ 144838 h 289675"/>
                <a:gd name="connsiteX8" fmla="*/ 144838 w 289676"/>
                <a:gd name="connsiteY8" fmla="*/ 276508 h 289675"/>
                <a:gd name="connsiteX9" fmla="*/ 13167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7"/>
                    <a:pt x="224828" y="0"/>
                    <a:pt x="144838" y="0"/>
                  </a:cubicBezTo>
                  <a:cubicBezTo>
                    <a:pt x="64848" y="0"/>
                    <a:pt x="0" y="64847"/>
                    <a:pt x="0" y="144838"/>
                  </a:cubicBezTo>
                  <a:cubicBezTo>
                    <a:pt x="0" y="224827"/>
                    <a:pt x="64848" y="289675"/>
                    <a:pt x="144838" y="289675"/>
                  </a:cubicBezTo>
                  <a:cubicBezTo>
                    <a:pt x="224828" y="289675"/>
                    <a:pt x="289676" y="224827"/>
                    <a:pt x="289676" y="144838"/>
                  </a:cubicBezTo>
                  <a:close/>
                  <a:moveTo>
                    <a:pt x="13167" y="144838"/>
                  </a:moveTo>
                  <a:cubicBezTo>
                    <a:pt x="13167" y="72116"/>
                    <a:pt x="72116" y="13167"/>
                    <a:pt x="144838" y="13167"/>
                  </a:cubicBezTo>
                  <a:cubicBezTo>
                    <a:pt x="217560" y="13167"/>
                    <a:pt x="276509" y="72116"/>
                    <a:pt x="276509" y="144838"/>
                  </a:cubicBezTo>
                  <a:cubicBezTo>
                    <a:pt x="276509" y="217559"/>
                    <a:pt x="217560" y="276508"/>
                    <a:pt x="144838" y="276508"/>
                  </a:cubicBezTo>
                  <a:cubicBezTo>
                    <a:pt x="72116" y="276508"/>
                    <a:pt x="13167" y="217559"/>
                    <a:pt x="13167" y="144838"/>
                  </a:cubicBezTo>
                  <a:close/>
                </a:path>
              </a:pathLst>
            </a:custGeom>
            <a:solidFill>
              <a:schemeClr val="accent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D8F031C1-2D01-4C6E-9528-BC808DA8B668}"/>
                </a:ext>
              </a:extLst>
            </p:cNvPr>
            <p:cNvSpPr/>
            <p:nvPr/>
          </p:nvSpPr>
          <p:spPr>
            <a:xfrm>
              <a:off x="9062190" y="5650872"/>
              <a:ext cx="77935" cy="166970"/>
            </a:xfrm>
            <a:custGeom>
              <a:avLst/>
              <a:gdLst>
                <a:gd name="connsiteX0" fmla="*/ 44452 w 77935"/>
                <a:gd name="connsiteY0" fmla="*/ 166971 h 166970"/>
                <a:gd name="connsiteX1" fmla="*/ 44452 w 77935"/>
                <a:gd name="connsiteY1" fmla="*/ 83373 h 166970"/>
                <a:gd name="connsiteX2" fmla="*/ 72037 w 77935"/>
                <a:gd name="connsiteY2" fmla="*/ 83373 h 166970"/>
                <a:gd name="connsiteX3" fmla="*/ 76395 w 77935"/>
                <a:gd name="connsiteY3" fmla="*/ 55670 h 166970"/>
                <a:gd name="connsiteX4" fmla="*/ 44452 w 77935"/>
                <a:gd name="connsiteY4" fmla="*/ 55670 h 166970"/>
                <a:gd name="connsiteX5" fmla="*/ 44452 w 77935"/>
                <a:gd name="connsiteY5" fmla="*/ 41779 h 166970"/>
                <a:gd name="connsiteX6" fmla="*/ 57198 w 77935"/>
                <a:gd name="connsiteY6" fmla="*/ 27651 h 166970"/>
                <a:gd name="connsiteX7" fmla="*/ 77936 w 77935"/>
                <a:gd name="connsiteY7" fmla="*/ 27651 h 166970"/>
                <a:gd name="connsiteX8" fmla="*/ 77936 w 77935"/>
                <a:gd name="connsiteY8" fmla="*/ 0 h 166970"/>
                <a:gd name="connsiteX9" fmla="*/ 48494 w 77935"/>
                <a:gd name="connsiteY9" fmla="*/ 0 h 166970"/>
                <a:gd name="connsiteX10" fmla="*/ 16985 w 77935"/>
                <a:gd name="connsiteY10" fmla="*/ 38895 h 166970"/>
                <a:gd name="connsiteX11" fmla="*/ 16985 w 77935"/>
                <a:gd name="connsiteY11" fmla="*/ 55657 h 166970"/>
                <a:gd name="connsiteX12" fmla="*/ 0 w 77935"/>
                <a:gd name="connsiteY12" fmla="*/ 55657 h 166970"/>
                <a:gd name="connsiteX13" fmla="*/ 0 w 77935"/>
                <a:gd name="connsiteY13" fmla="*/ 83373 h 166970"/>
                <a:gd name="connsiteX14" fmla="*/ 16985 w 77935"/>
                <a:gd name="connsiteY14" fmla="*/ 83373 h 166970"/>
                <a:gd name="connsiteX15" fmla="*/ 16985 w 77935"/>
                <a:gd name="connsiteY15" fmla="*/ 166971 h 166970"/>
                <a:gd name="connsiteX16" fmla="*/ 44452 w 77935"/>
                <a:gd name="connsiteY16" fmla="*/ 166971 h 166970"/>
                <a:gd name="connsiteX17" fmla="*/ 44452 w 77935"/>
                <a:gd name="connsiteY17" fmla="*/ 166971 h 166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935" h="166970">
                  <a:moveTo>
                    <a:pt x="44452" y="166971"/>
                  </a:moveTo>
                  <a:lnTo>
                    <a:pt x="44452" y="83373"/>
                  </a:lnTo>
                  <a:lnTo>
                    <a:pt x="72037" y="83373"/>
                  </a:lnTo>
                  <a:lnTo>
                    <a:pt x="76395" y="55670"/>
                  </a:lnTo>
                  <a:lnTo>
                    <a:pt x="44452" y="55670"/>
                  </a:lnTo>
                  <a:lnTo>
                    <a:pt x="44452" y="41779"/>
                  </a:lnTo>
                  <a:cubicBezTo>
                    <a:pt x="44452" y="34550"/>
                    <a:pt x="46822" y="27651"/>
                    <a:pt x="57198" y="27651"/>
                  </a:cubicBezTo>
                  <a:lnTo>
                    <a:pt x="77936" y="27651"/>
                  </a:lnTo>
                  <a:lnTo>
                    <a:pt x="77936" y="0"/>
                  </a:lnTo>
                  <a:lnTo>
                    <a:pt x="48494" y="0"/>
                  </a:lnTo>
                  <a:cubicBezTo>
                    <a:pt x="23740" y="0"/>
                    <a:pt x="16985" y="16300"/>
                    <a:pt x="16985" y="38895"/>
                  </a:cubicBezTo>
                  <a:lnTo>
                    <a:pt x="16985" y="55657"/>
                  </a:lnTo>
                  <a:lnTo>
                    <a:pt x="0" y="55657"/>
                  </a:lnTo>
                  <a:lnTo>
                    <a:pt x="0" y="83373"/>
                  </a:lnTo>
                  <a:lnTo>
                    <a:pt x="16985" y="83373"/>
                  </a:lnTo>
                  <a:lnTo>
                    <a:pt x="16985" y="166971"/>
                  </a:lnTo>
                  <a:lnTo>
                    <a:pt x="44452" y="166971"/>
                  </a:lnTo>
                  <a:lnTo>
                    <a:pt x="44452" y="166971"/>
                  </a:lnTo>
                  <a:close/>
                </a:path>
              </a:pathLst>
            </a:custGeom>
            <a:solidFill>
              <a:schemeClr val="accent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Ellipse 54">
              <a:hlinkClick r:id="rId4"/>
              <a:extLst>
                <a:ext uri="{FF2B5EF4-FFF2-40B4-BE49-F238E27FC236}">
                  <a16:creationId xmlns:a16="http://schemas.microsoft.com/office/drawing/2014/main" id="{AE3CF4BD-8155-45DA-90A3-75B351667DB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54324" y="5587483"/>
              <a:ext cx="291600" cy="291600"/>
            </a:xfrm>
            <a:prstGeom prst="ellipse">
              <a:avLst/>
            </a:prstGeom>
            <a:solidFill>
              <a:schemeClr val="tx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Ellipse 55">
              <a:hlinkClick r:id="rId5"/>
              <a:extLst>
                <a:ext uri="{FF2B5EF4-FFF2-40B4-BE49-F238E27FC236}">
                  <a16:creationId xmlns:a16="http://schemas.microsoft.com/office/drawing/2014/main" id="{56344DB9-2FC4-4290-9C42-F674B39F70D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95086" y="5587483"/>
              <a:ext cx="291600" cy="291600"/>
            </a:xfrm>
            <a:prstGeom prst="ellipse">
              <a:avLst/>
            </a:prstGeom>
            <a:solidFill>
              <a:schemeClr val="tx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Ellipse 56">
              <a:hlinkClick r:id="rId6"/>
              <a:extLst>
                <a:ext uri="{FF2B5EF4-FFF2-40B4-BE49-F238E27FC236}">
                  <a16:creationId xmlns:a16="http://schemas.microsoft.com/office/drawing/2014/main" id="{846AD5C1-100B-4604-BC67-53B8A296BE4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835848" y="5587483"/>
              <a:ext cx="291600" cy="291600"/>
            </a:xfrm>
            <a:prstGeom prst="ellipse">
              <a:avLst/>
            </a:prstGeom>
            <a:solidFill>
              <a:schemeClr val="tx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Ellipse 57">
              <a:hlinkClick r:id="rId7"/>
              <a:extLst>
                <a:ext uri="{FF2B5EF4-FFF2-40B4-BE49-F238E27FC236}">
                  <a16:creationId xmlns:a16="http://schemas.microsoft.com/office/drawing/2014/main" id="{FD0ED993-F845-4959-A84B-8583A537E6A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76610" y="5587483"/>
              <a:ext cx="291600" cy="291600"/>
            </a:xfrm>
            <a:prstGeom prst="ellipse">
              <a:avLst/>
            </a:prstGeom>
            <a:solidFill>
              <a:schemeClr val="tx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Ellipse 58">
              <a:hlinkClick r:id="rId8"/>
              <a:extLst>
                <a:ext uri="{FF2B5EF4-FFF2-40B4-BE49-F238E27FC236}">
                  <a16:creationId xmlns:a16="http://schemas.microsoft.com/office/drawing/2014/main" id="{607F9746-6B1D-4E78-9779-CFC7EE684F8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717373" y="5587483"/>
              <a:ext cx="291600" cy="291600"/>
            </a:xfrm>
            <a:prstGeom prst="ellipse">
              <a:avLst/>
            </a:prstGeom>
            <a:solidFill>
              <a:schemeClr val="tx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42381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66667E-6 4.81481E-6 L 1.66667E-6 0.05162 " pathEditMode="relative" rAng="0" ptsTypes="AA">
                                      <p:cBhvr>
                                        <p:cTn id="30" dur="75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69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66667E-6 4.81481E-6 L 1.66667E-6 0.05162 " pathEditMode="relative" rAng="0" ptsTypes="AA">
                                      <p:cBhvr>
                                        <p:cTn id="35" dur="75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69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71 -1.48148E-6 L 4.58333E-6 -1.48148E-6 " pathEditMode="relative" rAng="0" ptsTypes="AA">
                                      <p:cBhvr>
                                        <p:cTn id="40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3" presetClass="path" presetSubtype="0" decel="100000" fill="hold" grpId="1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45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63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50" dur="75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3" presetClass="path" presetSubtype="0" decel="100000" fill="hold" grpId="1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55" dur="7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63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60" dur="75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63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65" dur="75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2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63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70" dur="75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63" presetClass="path" presetSubtype="0" decel="100000" fill="hold" grpId="1" nodeType="withEffect">
                                  <p:stCondLst>
                                    <p:cond delay="3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75" dur="7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2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63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80" dur="75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2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3" presetClass="path" presetSubtype="0" decel="100000" fill="hold" grpId="1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85" dur="75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25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63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90" dur="75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25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63" presetClass="path" presetSubtype="0" decel="100000" fill="hold" grpId="1" nodeType="withEffect">
                                  <p:stCondLst>
                                    <p:cond delay="5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95" dur="75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2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63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100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25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63" presetClass="path" presetSubtype="0" decel="100000" fill="hold" grpId="1" nodeType="withEffect">
                                  <p:stCondLst>
                                    <p:cond delay="6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105" dur="75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25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110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1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2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3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4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5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6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/>
      <p:bldP spid="96" grpId="1" animBg="1"/>
      <p:bldP spid="94" grpId="0" animBg="1"/>
      <p:bldP spid="94" grpId="1" animBg="1"/>
      <p:bldP spid="92" grpId="0" animBg="1"/>
      <p:bldP spid="92" grpId="1" animBg="1"/>
      <p:bldP spid="90" grpId="0" animBg="1"/>
      <p:bldP spid="90" grpId="1" animBg="1"/>
      <p:bldP spid="88" grpId="0" animBg="1"/>
      <p:bldP spid="88" grpId="1" animBg="1"/>
      <p:bldP spid="86" grpId="0" animBg="1"/>
      <p:bldP spid="86" grpId="1" animBg="1"/>
      <p:bldP spid="84" grpId="0" animBg="1"/>
      <p:bldP spid="84" grpId="1" animBg="1"/>
      <p:bldP spid="82" grpId="0" animBg="1"/>
      <p:bldP spid="82" grpId="1" animBg="1"/>
      <p:bldP spid="79" grpId="0" animBg="1"/>
      <p:bldP spid="79" grpId="1" animBg="1"/>
      <p:bldP spid="77" grpId="0" animBg="1"/>
      <p:bldP spid="77" grpId="1" animBg="1"/>
      <p:bldP spid="75" grpId="0" animBg="1"/>
      <p:bldP spid="75" grpId="1" animBg="1"/>
      <p:bldP spid="73" grpId="0" animBg="1"/>
      <p:bldP spid="73" grpId="1" animBg="1"/>
      <p:bldP spid="71" grpId="0" animBg="1"/>
      <p:bldP spid="71" grpId="1" animBg="1"/>
      <p:bldP spid="69" grpId="0" animBg="1"/>
      <p:bldP spid="69" grpId="1" animBg="1"/>
      <p:bldP spid="67" grpId="0" animBg="1"/>
      <p:bldP spid="67" grpId="1" animBg="1"/>
      <p:bldP spid="4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for background picture">
    <p:bg>
      <p:bgPr>
        <a:solidFill>
          <a:schemeClr val="tx2"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7EBE907-0231-4280-83B0-07B8B8D73B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4B00B0">
                  <a:alpha val="95000"/>
                </a:srgbClr>
              </a:gs>
              <a:gs pos="0">
                <a:srgbClr val="430099">
                  <a:alpha val="95000"/>
                </a:srgbClr>
              </a:gs>
              <a:gs pos="30000">
                <a:srgbClr val="4B00B0">
                  <a:alpha val="15000"/>
                </a:srgbClr>
              </a:gs>
            </a:gsLst>
            <a:lin ang="189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5708" y="1189821"/>
            <a:ext cx="6232000" cy="2650659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5000">
                <a:solidFill>
                  <a:schemeClr val="bg1"/>
                </a:solidFill>
                <a:effectLst/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5707" y="4102388"/>
            <a:ext cx="6232000" cy="1728000"/>
          </a:xfrm>
          <a:noFill/>
          <a:effectLst/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Insert subtitle here. Right click on slide background to set picture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35708" y="6375123"/>
            <a:ext cx="2328672" cy="20512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l">
              <a:defRPr lang="en-US" sz="1333" b="0" smtClean="0">
                <a:solidFill>
                  <a:schemeClr val="bg1"/>
                </a:solidFill>
                <a:latin typeface="Arial"/>
              </a:defRPr>
            </a:lvl1pPr>
          </a:lstStyle>
          <a:p>
            <a:pPr defTabSz="914377"/>
            <a:fld id="{40D860EF-8E7C-426B-97A5-D58ABE025536}" type="datetime1">
              <a:rPr lang="en-US" smtClean="0"/>
              <a:t>2/17/2023</a:t>
            </a:fld>
            <a:endParaRPr lang="en-US" dirty="0"/>
          </a:p>
        </p:txBody>
      </p:sp>
      <p:grpSp>
        <p:nvGrpSpPr>
          <p:cNvPr id="131" name="Group 6">
            <a:extLst>
              <a:ext uri="{FF2B5EF4-FFF2-40B4-BE49-F238E27FC236}">
                <a16:creationId xmlns:a16="http://schemas.microsoft.com/office/drawing/2014/main" id="{2F2C2701-CCA7-4290-81A8-F02B34EFCE7C}"/>
              </a:ext>
            </a:extLst>
          </p:cNvPr>
          <p:cNvGrpSpPr/>
          <p:nvPr/>
        </p:nvGrpSpPr>
        <p:grpSpPr bwMode="black">
          <a:xfrm>
            <a:off x="635708" y="622301"/>
            <a:ext cx="1549408" cy="391252"/>
            <a:chOff x="447675" y="4187826"/>
            <a:chExt cx="2049463" cy="517525"/>
          </a:xfrm>
          <a:solidFill>
            <a:schemeClr val="bg1"/>
          </a:solidFill>
        </p:grpSpPr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CC2EE4D3-0CE7-4A96-B4BE-7F5CD5FA3ACB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 6">
              <a:extLst>
                <a:ext uri="{FF2B5EF4-FFF2-40B4-BE49-F238E27FC236}">
                  <a16:creationId xmlns:a16="http://schemas.microsoft.com/office/drawing/2014/main" id="{8A1F9E01-43DB-4F91-AF8C-6E73E0130DE4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 7">
              <a:extLst>
                <a:ext uri="{FF2B5EF4-FFF2-40B4-BE49-F238E27FC236}">
                  <a16:creationId xmlns:a16="http://schemas.microsoft.com/office/drawing/2014/main" id="{FA04AF4E-0CEF-4BBE-95C3-3D2C8577AA9C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Freeform 8">
              <a:extLst>
                <a:ext uri="{FF2B5EF4-FFF2-40B4-BE49-F238E27FC236}">
                  <a16:creationId xmlns:a16="http://schemas.microsoft.com/office/drawing/2014/main" id="{7919488A-9DB6-48AC-A14D-E639BE5F6A9D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 9">
              <a:extLst>
                <a:ext uri="{FF2B5EF4-FFF2-40B4-BE49-F238E27FC236}">
                  <a16:creationId xmlns:a16="http://schemas.microsoft.com/office/drawing/2014/main" id="{4710171C-5150-4A9D-8099-BF9696999E0F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5904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6.25E-7 4.44444E-6 L 6.25E-7 0.05162 " pathEditMode="relative" rAng="0" ptsTypes="AA">
                                      <p:cBhvr>
                                        <p:cTn id="12" dur="750" spd="-100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69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  <p:bldP spid="3" grpId="1" build="p"/>
      <p:bldP spid="4" grpId="0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for background picture 2">
    <p:bg>
      <p:bgPr>
        <a:solidFill>
          <a:schemeClr val="tx2"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Rectangle 86">
            <a:extLst>
              <a:ext uri="{FF2B5EF4-FFF2-40B4-BE49-F238E27FC236}">
                <a16:creationId xmlns:a16="http://schemas.microsoft.com/office/drawing/2014/main" id="{EC106A3D-428A-406D-9A3F-1AAC4687602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4B00B0">
                  <a:alpha val="95000"/>
                </a:srgbClr>
              </a:gs>
              <a:gs pos="0">
                <a:srgbClr val="430099">
                  <a:alpha val="95000"/>
                </a:srgbClr>
              </a:gs>
              <a:gs pos="30000">
                <a:srgbClr val="4B00B0">
                  <a:alpha val="15000"/>
                </a:srgbClr>
              </a:gs>
            </a:gsLst>
            <a:lin ang="189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5708" y="1189821"/>
            <a:ext cx="6232000" cy="2650659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5000">
                <a:solidFill>
                  <a:schemeClr val="bg1"/>
                </a:solidFill>
                <a:effectLst/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5707" y="4102388"/>
            <a:ext cx="6232000" cy="1728000"/>
          </a:xfrm>
          <a:noFill/>
          <a:effectLst/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Insert subtitle here. Right click on slide background to set picture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35708" y="6375123"/>
            <a:ext cx="2328672" cy="20512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l">
              <a:defRPr lang="en-US" sz="1333" b="0" smtClean="0">
                <a:solidFill>
                  <a:schemeClr val="bg1"/>
                </a:solidFill>
                <a:latin typeface="Arial"/>
              </a:defRPr>
            </a:lvl1pPr>
          </a:lstStyle>
          <a:p>
            <a:pPr defTabSz="914377"/>
            <a:fld id="{39DDC697-0882-461D-A954-4DE88AFE7B7F}" type="datetime1">
              <a:rPr lang="en-US" smtClean="0"/>
              <a:t>2/17/2023</a:t>
            </a:fld>
            <a:endParaRPr lang="en-US" dirty="0"/>
          </a:p>
        </p:txBody>
      </p:sp>
      <p:grpSp>
        <p:nvGrpSpPr>
          <p:cNvPr id="131" name="Group 6">
            <a:extLst>
              <a:ext uri="{FF2B5EF4-FFF2-40B4-BE49-F238E27FC236}">
                <a16:creationId xmlns:a16="http://schemas.microsoft.com/office/drawing/2014/main" id="{2F2C2701-CCA7-4290-81A8-F02B34EFCE7C}"/>
              </a:ext>
            </a:extLst>
          </p:cNvPr>
          <p:cNvGrpSpPr/>
          <p:nvPr/>
        </p:nvGrpSpPr>
        <p:grpSpPr bwMode="black">
          <a:xfrm>
            <a:off x="635708" y="622301"/>
            <a:ext cx="1549408" cy="391252"/>
            <a:chOff x="447675" y="4187826"/>
            <a:chExt cx="2049463" cy="517525"/>
          </a:xfrm>
          <a:solidFill>
            <a:schemeClr val="bg1"/>
          </a:solidFill>
        </p:grpSpPr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CC2EE4D3-0CE7-4A96-B4BE-7F5CD5FA3ACB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 6">
              <a:extLst>
                <a:ext uri="{FF2B5EF4-FFF2-40B4-BE49-F238E27FC236}">
                  <a16:creationId xmlns:a16="http://schemas.microsoft.com/office/drawing/2014/main" id="{8A1F9E01-43DB-4F91-AF8C-6E73E0130DE4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 7">
              <a:extLst>
                <a:ext uri="{FF2B5EF4-FFF2-40B4-BE49-F238E27FC236}">
                  <a16:creationId xmlns:a16="http://schemas.microsoft.com/office/drawing/2014/main" id="{FA04AF4E-0CEF-4BBE-95C3-3D2C8577AA9C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Freeform 8">
              <a:extLst>
                <a:ext uri="{FF2B5EF4-FFF2-40B4-BE49-F238E27FC236}">
                  <a16:creationId xmlns:a16="http://schemas.microsoft.com/office/drawing/2014/main" id="{7919488A-9DB6-48AC-A14D-E639BE5F6A9D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 9">
              <a:extLst>
                <a:ext uri="{FF2B5EF4-FFF2-40B4-BE49-F238E27FC236}">
                  <a16:creationId xmlns:a16="http://schemas.microsoft.com/office/drawing/2014/main" id="{4710171C-5150-4A9D-8099-BF9696999E0F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6" name="Forme libre : forme 145">
            <a:extLst>
              <a:ext uri="{FF2B5EF4-FFF2-40B4-BE49-F238E27FC236}">
                <a16:creationId xmlns:a16="http://schemas.microsoft.com/office/drawing/2014/main" id="{F029E81A-5720-4DDC-A25D-48DEBD2147EF}"/>
              </a:ext>
            </a:extLst>
          </p:cNvPr>
          <p:cNvSpPr/>
          <p:nvPr userDrawn="1"/>
        </p:nvSpPr>
        <p:spPr>
          <a:xfrm>
            <a:off x="6867707" y="0"/>
            <a:ext cx="1740267" cy="6858000"/>
          </a:xfrm>
          <a:custGeom>
            <a:avLst/>
            <a:gdLst>
              <a:gd name="connsiteX0" fmla="*/ 1664655 w 1740267"/>
              <a:gd name="connsiteY0" fmla="*/ 0 h 6858000"/>
              <a:gd name="connsiteX1" fmla="*/ 1736238 w 1740267"/>
              <a:gd name="connsiteY1" fmla="*/ 0 h 6858000"/>
              <a:gd name="connsiteX2" fmla="*/ 71684 w 1740267"/>
              <a:gd name="connsiteY2" fmla="*/ 3434542 h 6858000"/>
              <a:gd name="connsiteX3" fmla="*/ 1740267 w 1740267"/>
              <a:gd name="connsiteY3" fmla="*/ 6858000 h 6858000"/>
              <a:gd name="connsiteX4" fmla="*/ 1668582 w 1740267"/>
              <a:gd name="connsiteY4" fmla="*/ 6858000 h 6858000"/>
              <a:gd name="connsiteX5" fmla="*/ 0 w 1740267"/>
              <a:gd name="connsiteY5" fmla="*/ 3434545 h 6858000"/>
              <a:gd name="connsiteX6" fmla="*/ 0 w 1740267"/>
              <a:gd name="connsiteY6" fmla="*/ 3434539 h 6858000"/>
              <a:gd name="connsiteX7" fmla="*/ 7167 w 1740267"/>
              <a:gd name="connsiteY7" fmla="*/ 34209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40267" h="6858000">
                <a:moveTo>
                  <a:pt x="1664655" y="0"/>
                </a:moveTo>
                <a:lnTo>
                  <a:pt x="1736238" y="0"/>
                </a:lnTo>
                <a:lnTo>
                  <a:pt x="71684" y="3434542"/>
                </a:lnTo>
                <a:lnTo>
                  <a:pt x="1740267" y="6858000"/>
                </a:lnTo>
                <a:lnTo>
                  <a:pt x="1668582" y="6858000"/>
                </a:lnTo>
                <a:lnTo>
                  <a:pt x="0" y="3434545"/>
                </a:lnTo>
                <a:lnTo>
                  <a:pt x="0" y="3434539"/>
                </a:lnTo>
                <a:lnTo>
                  <a:pt x="7167" y="342092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8" name="Forme libre : forme 147">
            <a:extLst>
              <a:ext uri="{FF2B5EF4-FFF2-40B4-BE49-F238E27FC236}">
                <a16:creationId xmlns:a16="http://schemas.microsoft.com/office/drawing/2014/main" id="{8BCA8DF1-FA4B-4C2E-9AEA-91266FB2C4C6}"/>
              </a:ext>
            </a:extLst>
          </p:cNvPr>
          <p:cNvSpPr/>
          <p:nvPr userDrawn="1"/>
        </p:nvSpPr>
        <p:spPr>
          <a:xfrm>
            <a:off x="7270085" y="0"/>
            <a:ext cx="1780385" cy="6858000"/>
          </a:xfrm>
          <a:custGeom>
            <a:avLst/>
            <a:gdLst>
              <a:gd name="connsiteX0" fmla="*/ 1664484 w 1780385"/>
              <a:gd name="connsiteY0" fmla="*/ 0 h 6858000"/>
              <a:gd name="connsiteX1" fmla="*/ 1776256 w 1780385"/>
              <a:gd name="connsiteY1" fmla="*/ 0 h 6858000"/>
              <a:gd name="connsiteX2" fmla="*/ 111112 w 1780385"/>
              <a:gd name="connsiteY2" fmla="*/ 3434542 h 6858000"/>
              <a:gd name="connsiteX3" fmla="*/ 1780385 w 1780385"/>
              <a:gd name="connsiteY3" fmla="*/ 6858000 h 6858000"/>
              <a:gd name="connsiteX4" fmla="*/ 1668583 w 1780385"/>
              <a:gd name="connsiteY4" fmla="*/ 6858000 h 6858000"/>
              <a:gd name="connsiteX5" fmla="*/ 0 w 1780385"/>
              <a:gd name="connsiteY5" fmla="*/ 3434542 h 6858000"/>
              <a:gd name="connsiteX6" fmla="*/ 10036 w 1780385"/>
              <a:gd name="connsiteY6" fmla="*/ 341303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0385" h="6858000">
                <a:moveTo>
                  <a:pt x="1664484" y="0"/>
                </a:moveTo>
                <a:lnTo>
                  <a:pt x="1776256" y="0"/>
                </a:lnTo>
                <a:lnTo>
                  <a:pt x="111112" y="3434542"/>
                </a:lnTo>
                <a:lnTo>
                  <a:pt x="1780385" y="6858000"/>
                </a:lnTo>
                <a:lnTo>
                  <a:pt x="1668583" y="6858000"/>
                </a:lnTo>
                <a:lnTo>
                  <a:pt x="0" y="3434542"/>
                </a:lnTo>
                <a:lnTo>
                  <a:pt x="10036" y="341303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0" name="Forme libre : forme 149">
            <a:extLst>
              <a:ext uri="{FF2B5EF4-FFF2-40B4-BE49-F238E27FC236}">
                <a16:creationId xmlns:a16="http://schemas.microsoft.com/office/drawing/2014/main" id="{7814FF96-BB58-4620-BCBC-AEF10DF04782}"/>
              </a:ext>
            </a:extLst>
          </p:cNvPr>
          <p:cNvSpPr/>
          <p:nvPr userDrawn="1"/>
        </p:nvSpPr>
        <p:spPr>
          <a:xfrm>
            <a:off x="7709775" y="0"/>
            <a:ext cx="1852097" cy="6858000"/>
          </a:xfrm>
          <a:custGeom>
            <a:avLst/>
            <a:gdLst>
              <a:gd name="connsiteX0" fmla="*/ 1664524 w 1852097"/>
              <a:gd name="connsiteY0" fmla="*/ 0 h 6858000"/>
              <a:gd name="connsiteX1" fmla="*/ 1848068 w 1852097"/>
              <a:gd name="connsiteY1" fmla="*/ 0 h 6858000"/>
              <a:gd name="connsiteX2" fmla="*/ 183514 w 1852097"/>
              <a:gd name="connsiteY2" fmla="*/ 3434542 h 6858000"/>
              <a:gd name="connsiteX3" fmla="*/ 1852097 w 1852097"/>
              <a:gd name="connsiteY3" fmla="*/ 6858000 h 6858000"/>
              <a:gd name="connsiteX4" fmla="*/ 1668583 w 1852097"/>
              <a:gd name="connsiteY4" fmla="*/ 6858000 h 6858000"/>
              <a:gd name="connsiteX5" fmla="*/ 0 w 1852097"/>
              <a:gd name="connsiteY5" fmla="*/ 3434542 h 6858000"/>
              <a:gd name="connsiteX6" fmla="*/ 17204 w 1852097"/>
              <a:gd name="connsiteY6" fmla="*/ 339869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2097" h="6858000">
                <a:moveTo>
                  <a:pt x="1664524" y="0"/>
                </a:moveTo>
                <a:lnTo>
                  <a:pt x="1848068" y="0"/>
                </a:lnTo>
                <a:lnTo>
                  <a:pt x="183514" y="3434542"/>
                </a:lnTo>
                <a:lnTo>
                  <a:pt x="1852097" y="6858000"/>
                </a:lnTo>
                <a:lnTo>
                  <a:pt x="1668583" y="6858000"/>
                </a:lnTo>
                <a:lnTo>
                  <a:pt x="0" y="3434542"/>
                </a:lnTo>
                <a:lnTo>
                  <a:pt x="17204" y="339869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2" name="Forme libre : forme 151">
            <a:extLst>
              <a:ext uri="{FF2B5EF4-FFF2-40B4-BE49-F238E27FC236}">
                <a16:creationId xmlns:a16="http://schemas.microsoft.com/office/drawing/2014/main" id="{42EFF6E8-6ABC-4268-96CB-7DF6F23507A8}"/>
              </a:ext>
            </a:extLst>
          </p:cNvPr>
          <p:cNvSpPr/>
          <p:nvPr userDrawn="1"/>
        </p:nvSpPr>
        <p:spPr>
          <a:xfrm>
            <a:off x="8168469" y="0"/>
            <a:ext cx="1900101" cy="6858000"/>
          </a:xfrm>
          <a:custGeom>
            <a:avLst/>
            <a:gdLst>
              <a:gd name="connsiteX0" fmla="*/ 1665142 w 1900101"/>
              <a:gd name="connsiteY0" fmla="*/ 0 h 6858000"/>
              <a:gd name="connsiteX1" fmla="*/ 1895970 w 1900101"/>
              <a:gd name="connsiteY1" fmla="*/ 0 h 6858000"/>
              <a:gd name="connsiteX2" fmla="*/ 230828 w 1900101"/>
              <a:gd name="connsiteY2" fmla="*/ 3434542 h 6858000"/>
              <a:gd name="connsiteX3" fmla="*/ 1900101 w 1900101"/>
              <a:gd name="connsiteY3" fmla="*/ 6858000 h 6858000"/>
              <a:gd name="connsiteX4" fmla="*/ 1668583 w 1900101"/>
              <a:gd name="connsiteY4" fmla="*/ 6858000 h 6858000"/>
              <a:gd name="connsiteX5" fmla="*/ 0 w 1900101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00101" h="6858000">
                <a:moveTo>
                  <a:pt x="1665142" y="0"/>
                </a:moveTo>
                <a:lnTo>
                  <a:pt x="1895970" y="0"/>
                </a:lnTo>
                <a:lnTo>
                  <a:pt x="230828" y="3434542"/>
                </a:lnTo>
                <a:lnTo>
                  <a:pt x="1900101" y="6858000"/>
                </a:lnTo>
                <a:lnTo>
                  <a:pt x="1668583" y="6858000"/>
                </a:lnTo>
                <a:lnTo>
                  <a:pt x="0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4" name="Forme libre : forme 153">
            <a:extLst>
              <a:ext uri="{FF2B5EF4-FFF2-40B4-BE49-F238E27FC236}">
                <a16:creationId xmlns:a16="http://schemas.microsoft.com/office/drawing/2014/main" id="{511CC28D-353F-4425-B212-EDF70B88D2AC}"/>
              </a:ext>
            </a:extLst>
          </p:cNvPr>
          <p:cNvSpPr/>
          <p:nvPr userDrawn="1"/>
        </p:nvSpPr>
        <p:spPr>
          <a:xfrm>
            <a:off x="8598843" y="0"/>
            <a:ext cx="1931668" cy="6858000"/>
          </a:xfrm>
          <a:custGeom>
            <a:avLst/>
            <a:gdLst>
              <a:gd name="connsiteX0" fmla="*/ 1665142 w 1931668"/>
              <a:gd name="connsiteY0" fmla="*/ 0 h 6858000"/>
              <a:gd name="connsiteX1" fmla="*/ 1927639 w 1931668"/>
              <a:gd name="connsiteY1" fmla="*/ 0 h 6858000"/>
              <a:gd name="connsiteX2" fmla="*/ 263086 w 1931668"/>
              <a:gd name="connsiteY2" fmla="*/ 3434542 h 6858000"/>
              <a:gd name="connsiteX3" fmla="*/ 1931668 w 1931668"/>
              <a:gd name="connsiteY3" fmla="*/ 6858000 h 6858000"/>
              <a:gd name="connsiteX4" fmla="*/ 1668583 w 1931668"/>
              <a:gd name="connsiteY4" fmla="*/ 6858000 h 6858000"/>
              <a:gd name="connsiteX5" fmla="*/ 0 w 1931668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1668" h="6858000">
                <a:moveTo>
                  <a:pt x="1665142" y="0"/>
                </a:moveTo>
                <a:lnTo>
                  <a:pt x="1927639" y="0"/>
                </a:lnTo>
                <a:lnTo>
                  <a:pt x="263086" y="3434542"/>
                </a:lnTo>
                <a:lnTo>
                  <a:pt x="1931668" y="6858000"/>
                </a:lnTo>
                <a:lnTo>
                  <a:pt x="1668583" y="6858000"/>
                </a:lnTo>
                <a:lnTo>
                  <a:pt x="0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7" name="Forme libre : forme 156">
            <a:extLst>
              <a:ext uri="{FF2B5EF4-FFF2-40B4-BE49-F238E27FC236}">
                <a16:creationId xmlns:a16="http://schemas.microsoft.com/office/drawing/2014/main" id="{D9576C64-A421-4222-8EF3-77752B47C155}"/>
              </a:ext>
            </a:extLst>
          </p:cNvPr>
          <p:cNvSpPr/>
          <p:nvPr userDrawn="1"/>
        </p:nvSpPr>
        <p:spPr>
          <a:xfrm>
            <a:off x="9030332" y="0"/>
            <a:ext cx="2003326" cy="6858000"/>
          </a:xfrm>
          <a:custGeom>
            <a:avLst/>
            <a:gdLst>
              <a:gd name="connsiteX0" fmla="*/ 1664554 w 2003326"/>
              <a:gd name="connsiteY0" fmla="*/ 0 h 6858000"/>
              <a:gd name="connsiteX1" fmla="*/ 1999196 w 2003326"/>
              <a:gd name="connsiteY1" fmla="*/ 0 h 6858000"/>
              <a:gd name="connsiteX2" fmla="*/ 334054 w 2003326"/>
              <a:gd name="connsiteY2" fmla="*/ 3434542 h 6858000"/>
              <a:gd name="connsiteX3" fmla="*/ 2003326 w 2003326"/>
              <a:gd name="connsiteY3" fmla="*/ 6858000 h 6858000"/>
              <a:gd name="connsiteX4" fmla="*/ 1668583 w 2003326"/>
              <a:gd name="connsiteY4" fmla="*/ 6858000 h 6858000"/>
              <a:gd name="connsiteX5" fmla="*/ 0 w 2003326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03326" h="6858000">
                <a:moveTo>
                  <a:pt x="1664554" y="0"/>
                </a:moveTo>
                <a:lnTo>
                  <a:pt x="1999196" y="0"/>
                </a:lnTo>
                <a:lnTo>
                  <a:pt x="334054" y="3434542"/>
                </a:lnTo>
                <a:lnTo>
                  <a:pt x="2003326" y="6858000"/>
                </a:lnTo>
                <a:lnTo>
                  <a:pt x="1668583" y="6858000"/>
                </a:lnTo>
                <a:lnTo>
                  <a:pt x="0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9" name="Forme libre : forme 158">
            <a:extLst>
              <a:ext uri="{FF2B5EF4-FFF2-40B4-BE49-F238E27FC236}">
                <a16:creationId xmlns:a16="http://schemas.microsoft.com/office/drawing/2014/main" id="{87BF56E7-381E-4DD1-8887-741836E1C1BF}"/>
              </a:ext>
            </a:extLst>
          </p:cNvPr>
          <p:cNvSpPr/>
          <p:nvPr userDrawn="1"/>
        </p:nvSpPr>
        <p:spPr>
          <a:xfrm>
            <a:off x="9512058" y="0"/>
            <a:ext cx="2027727" cy="6858000"/>
          </a:xfrm>
          <a:custGeom>
            <a:avLst/>
            <a:gdLst>
              <a:gd name="connsiteX0" fmla="*/ 1665142 w 2027727"/>
              <a:gd name="connsiteY0" fmla="*/ 0 h 6858000"/>
              <a:gd name="connsiteX1" fmla="*/ 2023698 w 2027727"/>
              <a:gd name="connsiteY1" fmla="*/ 0 h 6858000"/>
              <a:gd name="connsiteX2" fmla="*/ 359144 w 2027727"/>
              <a:gd name="connsiteY2" fmla="*/ 3434542 h 6858000"/>
              <a:gd name="connsiteX3" fmla="*/ 2027727 w 2027727"/>
              <a:gd name="connsiteY3" fmla="*/ 6858000 h 6858000"/>
              <a:gd name="connsiteX4" fmla="*/ 1668583 w 2027727"/>
              <a:gd name="connsiteY4" fmla="*/ 6858000 h 6858000"/>
              <a:gd name="connsiteX5" fmla="*/ 0 w 2027727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27727" h="6858000">
                <a:moveTo>
                  <a:pt x="1665142" y="0"/>
                </a:moveTo>
                <a:lnTo>
                  <a:pt x="2023698" y="0"/>
                </a:lnTo>
                <a:lnTo>
                  <a:pt x="359144" y="3434542"/>
                </a:lnTo>
                <a:lnTo>
                  <a:pt x="2027727" y="6858000"/>
                </a:lnTo>
                <a:lnTo>
                  <a:pt x="1668583" y="6858000"/>
                </a:lnTo>
                <a:lnTo>
                  <a:pt x="0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1" name="Forme libre : forme 160">
            <a:extLst>
              <a:ext uri="{FF2B5EF4-FFF2-40B4-BE49-F238E27FC236}">
                <a16:creationId xmlns:a16="http://schemas.microsoft.com/office/drawing/2014/main" id="{D68CABD6-A068-4366-9493-4BE9B3ADEAF8}"/>
              </a:ext>
            </a:extLst>
          </p:cNvPr>
          <p:cNvSpPr/>
          <p:nvPr userDrawn="1"/>
        </p:nvSpPr>
        <p:spPr>
          <a:xfrm>
            <a:off x="9990198" y="0"/>
            <a:ext cx="2059958" cy="6858000"/>
          </a:xfrm>
          <a:custGeom>
            <a:avLst/>
            <a:gdLst>
              <a:gd name="connsiteX0" fmla="*/ 1665143 w 2059958"/>
              <a:gd name="connsiteY0" fmla="*/ 0 h 6858000"/>
              <a:gd name="connsiteX1" fmla="*/ 2055828 w 2059958"/>
              <a:gd name="connsiteY1" fmla="*/ 0 h 6858000"/>
              <a:gd name="connsiteX2" fmla="*/ 390685 w 2059958"/>
              <a:gd name="connsiteY2" fmla="*/ 3434542 h 6858000"/>
              <a:gd name="connsiteX3" fmla="*/ 2059958 w 2059958"/>
              <a:gd name="connsiteY3" fmla="*/ 6858000 h 6858000"/>
              <a:gd name="connsiteX4" fmla="*/ 1668583 w 2059958"/>
              <a:gd name="connsiteY4" fmla="*/ 6858000 h 6858000"/>
              <a:gd name="connsiteX5" fmla="*/ 0 w 2059958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59958" h="6858000">
                <a:moveTo>
                  <a:pt x="1665143" y="0"/>
                </a:moveTo>
                <a:lnTo>
                  <a:pt x="2055828" y="0"/>
                </a:lnTo>
                <a:lnTo>
                  <a:pt x="390685" y="3434542"/>
                </a:lnTo>
                <a:lnTo>
                  <a:pt x="2059958" y="6858000"/>
                </a:lnTo>
                <a:lnTo>
                  <a:pt x="1668583" y="6858000"/>
                </a:lnTo>
                <a:lnTo>
                  <a:pt x="0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3" name="Forme libre : forme 162">
            <a:extLst>
              <a:ext uri="{FF2B5EF4-FFF2-40B4-BE49-F238E27FC236}">
                <a16:creationId xmlns:a16="http://schemas.microsoft.com/office/drawing/2014/main" id="{F35F9B21-8D58-4031-8734-ED233B900FBC}"/>
              </a:ext>
            </a:extLst>
          </p:cNvPr>
          <p:cNvSpPr/>
          <p:nvPr userDrawn="1"/>
        </p:nvSpPr>
        <p:spPr>
          <a:xfrm>
            <a:off x="10460458" y="0"/>
            <a:ext cx="1731542" cy="6858000"/>
          </a:xfrm>
          <a:custGeom>
            <a:avLst/>
            <a:gdLst>
              <a:gd name="connsiteX0" fmla="*/ 1665142 w 1731542"/>
              <a:gd name="connsiteY0" fmla="*/ 0 h 6858000"/>
              <a:gd name="connsiteX1" fmla="*/ 1731542 w 1731542"/>
              <a:gd name="connsiteY1" fmla="*/ 0 h 6858000"/>
              <a:gd name="connsiteX2" fmla="*/ 1731542 w 1731542"/>
              <a:gd name="connsiteY2" fmla="*/ 766997 h 6858000"/>
              <a:gd name="connsiteX3" fmla="*/ 438714 w 1731542"/>
              <a:gd name="connsiteY3" fmla="*/ 3434542 h 6858000"/>
              <a:gd name="connsiteX4" fmla="*/ 1731542 w 1731542"/>
              <a:gd name="connsiteY4" fmla="*/ 6087058 h 6858000"/>
              <a:gd name="connsiteX5" fmla="*/ 1731542 w 1731542"/>
              <a:gd name="connsiteY5" fmla="*/ 6858000 h 6858000"/>
              <a:gd name="connsiteX6" fmla="*/ 1668583 w 1731542"/>
              <a:gd name="connsiteY6" fmla="*/ 6858000 h 6858000"/>
              <a:gd name="connsiteX7" fmla="*/ 0 w 1731542"/>
              <a:gd name="connsiteY7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31542" h="6858000">
                <a:moveTo>
                  <a:pt x="1665142" y="0"/>
                </a:moveTo>
                <a:lnTo>
                  <a:pt x="1731542" y="0"/>
                </a:lnTo>
                <a:lnTo>
                  <a:pt x="1731542" y="766997"/>
                </a:lnTo>
                <a:lnTo>
                  <a:pt x="438714" y="3434542"/>
                </a:lnTo>
                <a:lnTo>
                  <a:pt x="1731542" y="6087058"/>
                </a:lnTo>
                <a:lnTo>
                  <a:pt x="1731542" y="6858000"/>
                </a:lnTo>
                <a:lnTo>
                  <a:pt x="1668583" y="6858000"/>
                </a:lnTo>
                <a:lnTo>
                  <a:pt x="0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5" name="Forme libre : forme 164">
            <a:extLst>
              <a:ext uri="{FF2B5EF4-FFF2-40B4-BE49-F238E27FC236}">
                <a16:creationId xmlns:a16="http://schemas.microsoft.com/office/drawing/2014/main" id="{34D280D6-6A16-48E1-B011-CFC2AA06632B}"/>
              </a:ext>
            </a:extLst>
          </p:cNvPr>
          <p:cNvSpPr/>
          <p:nvPr userDrawn="1"/>
        </p:nvSpPr>
        <p:spPr>
          <a:xfrm>
            <a:off x="10950785" y="874400"/>
            <a:ext cx="1241215" cy="5106763"/>
          </a:xfrm>
          <a:custGeom>
            <a:avLst/>
            <a:gdLst>
              <a:gd name="connsiteX0" fmla="*/ 1241215 w 1241215"/>
              <a:gd name="connsiteY0" fmla="*/ 0 h 5106763"/>
              <a:gd name="connsiteX1" fmla="*/ 1241215 w 1241215"/>
              <a:gd name="connsiteY1" fmla="*/ 920581 h 5106763"/>
              <a:gd name="connsiteX2" fmla="*/ 446600 w 1241215"/>
              <a:gd name="connsiteY2" fmla="*/ 2560143 h 5106763"/>
              <a:gd name="connsiteX3" fmla="*/ 1241215 w 1241215"/>
              <a:gd name="connsiteY3" fmla="*/ 4190467 h 5106763"/>
              <a:gd name="connsiteX4" fmla="*/ 1241215 w 1241215"/>
              <a:gd name="connsiteY4" fmla="*/ 5106763 h 5106763"/>
              <a:gd name="connsiteX5" fmla="*/ 0 w 1241215"/>
              <a:gd name="connsiteY5" fmla="*/ 2560143 h 5106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41215" h="5106763">
                <a:moveTo>
                  <a:pt x="1241215" y="0"/>
                </a:moveTo>
                <a:lnTo>
                  <a:pt x="1241215" y="920581"/>
                </a:lnTo>
                <a:lnTo>
                  <a:pt x="446600" y="2560143"/>
                </a:lnTo>
                <a:lnTo>
                  <a:pt x="1241215" y="4190467"/>
                </a:lnTo>
                <a:lnTo>
                  <a:pt x="1241215" y="5106763"/>
                </a:lnTo>
                <a:lnTo>
                  <a:pt x="0" y="256014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7" name="Forme libre : forme 166">
            <a:extLst>
              <a:ext uri="{FF2B5EF4-FFF2-40B4-BE49-F238E27FC236}">
                <a16:creationId xmlns:a16="http://schemas.microsoft.com/office/drawing/2014/main" id="{A6351C29-861C-4B69-AC2D-83E9616AC148}"/>
              </a:ext>
            </a:extLst>
          </p:cNvPr>
          <p:cNvSpPr/>
          <p:nvPr userDrawn="1"/>
        </p:nvSpPr>
        <p:spPr>
          <a:xfrm>
            <a:off x="11441114" y="1885755"/>
            <a:ext cx="750887" cy="3089395"/>
          </a:xfrm>
          <a:custGeom>
            <a:avLst/>
            <a:gdLst>
              <a:gd name="connsiteX0" fmla="*/ 750887 w 750887"/>
              <a:gd name="connsiteY0" fmla="*/ 0 h 3089395"/>
              <a:gd name="connsiteX1" fmla="*/ 750887 w 750887"/>
              <a:gd name="connsiteY1" fmla="*/ 937210 h 3089395"/>
              <a:gd name="connsiteX2" fmla="*/ 454485 w 750887"/>
              <a:gd name="connsiteY2" fmla="*/ 1548788 h 3089395"/>
              <a:gd name="connsiteX3" fmla="*/ 750887 w 750887"/>
              <a:gd name="connsiteY3" fmla="*/ 2156921 h 3089395"/>
              <a:gd name="connsiteX4" fmla="*/ 750887 w 750887"/>
              <a:gd name="connsiteY4" fmla="*/ 3089395 h 3089395"/>
              <a:gd name="connsiteX5" fmla="*/ 0 w 750887"/>
              <a:gd name="connsiteY5" fmla="*/ 1548788 h 308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50887" h="3089395">
                <a:moveTo>
                  <a:pt x="750887" y="0"/>
                </a:moveTo>
                <a:lnTo>
                  <a:pt x="750887" y="937210"/>
                </a:lnTo>
                <a:lnTo>
                  <a:pt x="454485" y="1548788"/>
                </a:lnTo>
                <a:lnTo>
                  <a:pt x="750887" y="2156921"/>
                </a:lnTo>
                <a:lnTo>
                  <a:pt x="750887" y="3089395"/>
                </a:lnTo>
                <a:lnTo>
                  <a:pt x="0" y="154878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9" name="Forme libre : forme 168">
            <a:extLst>
              <a:ext uri="{FF2B5EF4-FFF2-40B4-BE49-F238E27FC236}">
                <a16:creationId xmlns:a16="http://schemas.microsoft.com/office/drawing/2014/main" id="{6B43D4F6-CCC3-44CA-92EB-FA137438DEDC}"/>
              </a:ext>
            </a:extLst>
          </p:cNvPr>
          <p:cNvSpPr/>
          <p:nvPr userDrawn="1"/>
        </p:nvSpPr>
        <p:spPr>
          <a:xfrm>
            <a:off x="11939326" y="2913372"/>
            <a:ext cx="252675" cy="1039588"/>
          </a:xfrm>
          <a:custGeom>
            <a:avLst/>
            <a:gdLst>
              <a:gd name="connsiteX0" fmla="*/ 252675 w 252675"/>
              <a:gd name="connsiteY0" fmla="*/ 0 h 1039588"/>
              <a:gd name="connsiteX1" fmla="*/ 252675 w 252675"/>
              <a:gd name="connsiteY1" fmla="*/ 1039588 h 1039588"/>
              <a:gd name="connsiteX2" fmla="*/ 0 w 252675"/>
              <a:gd name="connsiteY2" fmla="*/ 521170 h 103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2675" h="1039588">
                <a:moveTo>
                  <a:pt x="252675" y="0"/>
                </a:moveTo>
                <a:lnTo>
                  <a:pt x="252675" y="1039588"/>
                </a:lnTo>
                <a:lnTo>
                  <a:pt x="0" y="52117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102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6.25E-7 4.44444E-6 L 6.25E-7 0.05162 " pathEditMode="relative" rAng="0" ptsTypes="AA">
                                      <p:cBhvr>
                                        <p:cTn id="12" dur="750" spd="-100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69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23" dur="750" spd="-1000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3" presetClass="path" presetSubtype="0" decel="100000" fill="hold" grpId="1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28" dur="750" spd="-1000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3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33" dur="750" spd="-1000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3" presetClass="path" presetSubtype="0" decel="100000" fill="hold" grpId="1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38" dur="750" spd="-1000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3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43" dur="750" spd="-1000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5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63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48" dur="750" spd="-1000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3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53" dur="750" spd="-1000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3" presetClass="path" presetSubtype="0" decel="100000" fill="hold" grpId="1" nodeType="withEffect">
                                  <p:stCondLst>
                                    <p:cond delay="35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58" dur="750" spd="-1000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5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3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63" dur="750" spd="-1000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5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63" presetClass="path" presetSubtype="0" decel="100000" fill="hold" grpId="1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68" dur="750" spd="-1000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5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3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73" dur="750" spd="-1000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25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63" presetClass="path" presetSubtype="0" decel="100000" fill="hold" grpId="1" nodeType="withEffect">
                                  <p:stCondLst>
                                    <p:cond delay="550"/>
                                  </p:stCondLst>
                                  <p:childTnLst>
                                    <p:animMotion origin="layout" path="M -2.5E-6 0 L 0.0191 0 " pathEditMode="relative" rAng="0" ptsTypes="AA">
                                      <p:cBhvr>
                                        <p:cTn id="78" dur="750" spd="-1000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  <p:bldP spid="3" grpId="1" build="p"/>
      <p:bldP spid="4" grpId="0"/>
      <p:bldP spid="146" grpId="0" animBg="1"/>
      <p:bldP spid="146" grpId="1" animBg="1"/>
      <p:bldP spid="148" grpId="0" animBg="1"/>
      <p:bldP spid="148" grpId="1" animBg="1"/>
      <p:bldP spid="150" grpId="0" animBg="1"/>
      <p:bldP spid="150" grpId="1" animBg="1"/>
      <p:bldP spid="152" grpId="0" animBg="1"/>
      <p:bldP spid="152" grpId="1" animBg="1"/>
      <p:bldP spid="154" grpId="0" animBg="1"/>
      <p:bldP spid="154" grpId="1" animBg="1"/>
      <p:bldP spid="157" grpId="0" animBg="1"/>
      <p:bldP spid="157" grpId="1" animBg="1"/>
      <p:bldP spid="159" grpId="0" animBg="1"/>
      <p:bldP spid="159" grpId="1" animBg="1"/>
      <p:bldP spid="161" grpId="0" animBg="1"/>
      <p:bldP spid="161" grpId="1" animBg="1"/>
      <p:bldP spid="163" grpId="0" animBg="1"/>
      <p:bldP spid="163" grpId="1" animBg="1"/>
      <p:bldP spid="165" grpId="0" animBg="1"/>
      <p:bldP spid="165" grpId="1" animBg="1"/>
      <p:bldP spid="167" grpId="0" animBg="1"/>
      <p:bldP spid="167" grpId="1" animBg="1"/>
      <p:bldP spid="169" grpId="0" animBg="1"/>
      <p:bldP spid="169" grpId="1" animBg="1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 - Insert image">
    <p:bg>
      <p:bgPr>
        <a:gradFill>
          <a:gsLst>
            <a:gs pos="0">
              <a:srgbClr val="430099">
                <a:alpha val="95000"/>
              </a:srgbClr>
            </a:gs>
            <a:gs pos="100000">
              <a:srgbClr val="4B00B0">
                <a:alpha val="95000"/>
              </a:srgbClr>
            </a:gs>
            <a:gs pos="30000">
              <a:srgbClr val="4B00B0">
                <a:alpha val="70000"/>
              </a:srgb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5709" y="1189821"/>
            <a:ext cx="4319999" cy="2650659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3600">
                <a:solidFill>
                  <a:schemeClr val="bg1"/>
                </a:solidFill>
                <a:effectLst/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IDEMIA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5707" y="4102388"/>
            <a:ext cx="4320000" cy="1440000"/>
          </a:xfrm>
          <a:noFill/>
          <a:effectLst/>
        </p:spPr>
        <p:txBody>
          <a:bodyPr vert="horz" lIns="0" tIns="0" rIns="0" bIns="0" rtlCol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US" sz="2000" b="0" i="0" dirty="0">
                <a:solidFill>
                  <a:schemeClr val="bg1"/>
                </a:solidFill>
              </a:defRPr>
            </a:lvl1pPr>
          </a:lstStyle>
          <a:p>
            <a:pPr marL="146300" lvl="0" indent="-146300">
              <a:spcBef>
                <a:spcPts val="0"/>
              </a:spcBef>
              <a:spcAft>
                <a:spcPts val="800"/>
              </a:spcAft>
            </a:pPr>
            <a:r>
              <a:rPr lang="en-US" dirty="0"/>
              <a:t>Insert subtitle here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35708" y="6375123"/>
            <a:ext cx="2328672" cy="20512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l">
              <a:defRPr lang="en-US" sz="1333" b="0" smtClean="0">
                <a:solidFill>
                  <a:schemeClr val="bg1"/>
                </a:solidFill>
                <a:latin typeface="Arial"/>
              </a:defRPr>
            </a:lvl1pPr>
          </a:lstStyle>
          <a:p>
            <a:fld id="{8EE644FC-4BA1-42FE-8E2F-0A1ABFE930B8}" type="datetime1">
              <a:rPr lang="en-US" smtClean="0"/>
              <a:t>2/17/2023</a:t>
            </a:fld>
            <a:endParaRPr lang="en-US" dirty="0"/>
          </a:p>
        </p:txBody>
      </p:sp>
      <p:grpSp>
        <p:nvGrpSpPr>
          <p:cNvPr id="131" name="Group 6">
            <a:extLst>
              <a:ext uri="{FF2B5EF4-FFF2-40B4-BE49-F238E27FC236}">
                <a16:creationId xmlns:a16="http://schemas.microsoft.com/office/drawing/2014/main" id="{2F2C2701-CCA7-4290-81A8-F02B34EFCE7C}"/>
              </a:ext>
            </a:extLst>
          </p:cNvPr>
          <p:cNvGrpSpPr/>
          <p:nvPr/>
        </p:nvGrpSpPr>
        <p:grpSpPr bwMode="black">
          <a:xfrm>
            <a:off x="635708" y="622301"/>
            <a:ext cx="911669" cy="230212"/>
            <a:chOff x="447675" y="4187826"/>
            <a:chExt cx="2049463" cy="517525"/>
          </a:xfrm>
          <a:solidFill>
            <a:schemeClr val="bg1"/>
          </a:solidFill>
        </p:grpSpPr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CC2EE4D3-0CE7-4A96-B4BE-7F5CD5FA3ACB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 6">
              <a:extLst>
                <a:ext uri="{FF2B5EF4-FFF2-40B4-BE49-F238E27FC236}">
                  <a16:creationId xmlns:a16="http://schemas.microsoft.com/office/drawing/2014/main" id="{8A1F9E01-43DB-4F91-AF8C-6E73E0130DE4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 7">
              <a:extLst>
                <a:ext uri="{FF2B5EF4-FFF2-40B4-BE49-F238E27FC236}">
                  <a16:creationId xmlns:a16="http://schemas.microsoft.com/office/drawing/2014/main" id="{FA04AF4E-0CEF-4BBE-95C3-3D2C8577AA9C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Freeform 8">
              <a:extLst>
                <a:ext uri="{FF2B5EF4-FFF2-40B4-BE49-F238E27FC236}">
                  <a16:creationId xmlns:a16="http://schemas.microsoft.com/office/drawing/2014/main" id="{7919488A-9DB6-48AC-A14D-E639BE5F6A9D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 9">
              <a:extLst>
                <a:ext uri="{FF2B5EF4-FFF2-40B4-BE49-F238E27FC236}">
                  <a16:creationId xmlns:a16="http://schemas.microsoft.com/office/drawing/2014/main" id="{4710171C-5150-4A9D-8099-BF9696999E0F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" name="Espace réservé pour une image  29">
            <a:extLst>
              <a:ext uri="{FF2B5EF4-FFF2-40B4-BE49-F238E27FC236}">
                <a16:creationId xmlns:a16="http://schemas.microsoft.com/office/drawing/2014/main" id="{215A7C57-2825-4914-A2CE-9079918C6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103788" y="0"/>
            <a:ext cx="7088212" cy="6858000"/>
          </a:xfrm>
          <a:custGeom>
            <a:avLst/>
            <a:gdLst>
              <a:gd name="connsiteX0" fmla="*/ 7088212 w 7088212"/>
              <a:gd name="connsiteY0" fmla="*/ 2316551 h 6858000"/>
              <a:gd name="connsiteX1" fmla="*/ 7088212 w 7088212"/>
              <a:gd name="connsiteY1" fmla="*/ 3270182 h 6858000"/>
              <a:gd name="connsiteX2" fmla="*/ 7088212 w 7088212"/>
              <a:gd name="connsiteY2" fmla="*/ 3597980 h 6858000"/>
              <a:gd name="connsiteX3" fmla="*/ 7088212 w 7088212"/>
              <a:gd name="connsiteY3" fmla="*/ 4546633 h 6858000"/>
              <a:gd name="connsiteX4" fmla="*/ 6546184 w 7088212"/>
              <a:gd name="connsiteY4" fmla="*/ 3434544 h 6858000"/>
              <a:gd name="connsiteX5" fmla="*/ 7088212 w 7088212"/>
              <a:gd name="connsiteY5" fmla="*/ 1297052 h 6858000"/>
              <a:gd name="connsiteX6" fmla="*/ 7088212 w 7088212"/>
              <a:gd name="connsiteY6" fmla="*/ 2251081 h 6858000"/>
              <a:gd name="connsiteX7" fmla="*/ 6514644 w 7088212"/>
              <a:gd name="connsiteY7" fmla="*/ 3434545 h 6858000"/>
              <a:gd name="connsiteX8" fmla="*/ 7088212 w 7088212"/>
              <a:gd name="connsiteY8" fmla="*/ 4611344 h 6858000"/>
              <a:gd name="connsiteX9" fmla="*/ 7088212 w 7088212"/>
              <a:gd name="connsiteY9" fmla="*/ 5559997 h 6858000"/>
              <a:gd name="connsiteX10" fmla="*/ 6052274 w 7088212"/>
              <a:gd name="connsiteY10" fmla="*/ 3434545 h 6858000"/>
              <a:gd name="connsiteX11" fmla="*/ 7088212 w 7088212"/>
              <a:gd name="connsiteY11" fmla="*/ 286451 h 6858000"/>
              <a:gd name="connsiteX12" fmla="*/ 7088212 w 7088212"/>
              <a:gd name="connsiteY12" fmla="*/ 1223092 h 6858000"/>
              <a:gd name="connsiteX13" fmla="*/ 6016431 w 7088212"/>
              <a:gd name="connsiteY13" fmla="*/ 3434543 h 6858000"/>
              <a:gd name="connsiteX14" fmla="*/ 7088212 w 7088212"/>
              <a:gd name="connsiteY14" fmla="*/ 5633535 h 6858000"/>
              <a:gd name="connsiteX15" fmla="*/ 7088212 w 7088212"/>
              <a:gd name="connsiteY15" fmla="*/ 6566009 h 6858000"/>
              <a:gd name="connsiteX16" fmla="*/ 5561946 w 7088212"/>
              <a:gd name="connsiteY16" fmla="*/ 3434543 h 6858000"/>
              <a:gd name="connsiteX17" fmla="*/ 6736761 w 7088212"/>
              <a:gd name="connsiteY17" fmla="*/ 1 h 6858000"/>
              <a:gd name="connsiteX18" fmla="*/ 7088212 w 7088212"/>
              <a:gd name="connsiteY18" fmla="*/ 1 h 6858000"/>
              <a:gd name="connsiteX19" fmla="*/ 7088212 w 7088212"/>
              <a:gd name="connsiteY19" fmla="*/ 195109 h 6858000"/>
              <a:gd name="connsiteX20" fmla="*/ 5518218 w 7088212"/>
              <a:gd name="connsiteY20" fmla="*/ 3434542 h 6858000"/>
              <a:gd name="connsiteX21" fmla="*/ 7088212 w 7088212"/>
              <a:gd name="connsiteY21" fmla="*/ 6655729 h 6858000"/>
              <a:gd name="connsiteX22" fmla="*/ 7088212 w 7088212"/>
              <a:gd name="connsiteY22" fmla="*/ 6858000 h 6858000"/>
              <a:gd name="connsiteX23" fmla="*/ 6740201 w 7088212"/>
              <a:gd name="connsiteY23" fmla="*/ 6858000 h 6858000"/>
              <a:gd name="connsiteX24" fmla="*/ 5071618 w 7088212"/>
              <a:gd name="connsiteY24" fmla="*/ 3434542 h 6858000"/>
              <a:gd name="connsiteX25" fmla="*/ 6238549 w 7088212"/>
              <a:gd name="connsiteY25" fmla="*/ 1 h 6858000"/>
              <a:gd name="connsiteX26" fmla="*/ 6692444 w 7088212"/>
              <a:gd name="connsiteY26" fmla="*/ 1 h 6858000"/>
              <a:gd name="connsiteX27" fmla="*/ 5027891 w 7088212"/>
              <a:gd name="connsiteY27" fmla="*/ 3434542 h 6858000"/>
              <a:gd name="connsiteX28" fmla="*/ 6696474 w 7088212"/>
              <a:gd name="connsiteY28" fmla="*/ 6858000 h 6858000"/>
              <a:gd name="connsiteX29" fmla="*/ 6241989 w 7088212"/>
              <a:gd name="connsiteY29" fmla="*/ 6858000 h 6858000"/>
              <a:gd name="connsiteX30" fmla="*/ 4573406 w 7088212"/>
              <a:gd name="connsiteY30" fmla="*/ 3434542 h 6858000"/>
              <a:gd name="connsiteX31" fmla="*/ 5748221 w 7088212"/>
              <a:gd name="connsiteY31" fmla="*/ 1 h 6858000"/>
              <a:gd name="connsiteX32" fmla="*/ 6194231 w 7088212"/>
              <a:gd name="connsiteY32" fmla="*/ 1 h 6858000"/>
              <a:gd name="connsiteX33" fmla="*/ 4529678 w 7088212"/>
              <a:gd name="connsiteY33" fmla="*/ 3434542 h 6858000"/>
              <a:gd name="connsiteX34" fmla="*/ 6198261 w 7088212"/>
              <a:gd name="connsiteY34" fmla="*/ 6858000 h 6858000"/>
              <a:gd name="connsiteX35" fmla="*/ 5751661 w 7088212"/>
              <a:gd name="connsiteY35" fmla="*/ 6858000 h 6858000"/>
              <a:gd name="connsiteX36" fmla="*/ 4083078 w 7088212"/>
              <a:gd name="connsiteY36" fmla="*/ 3434542 h 6858000"/>
              <a:gd name="connsiteX37" fmla="*/ 5257893 w 7088212"/>
              <a:gd name="connsiteY37" fmla="*/ 1 h 6858000"/>
              <a:gd name="connsiteX38" fmla="*/ 5696019 w 7088212"/>
              <a:gd name="connsiteY38" fmla="*/ 1 h 6858000"/>
              <a:gd name="connsiteX39" fmla="*/ 4031465 w 7088212"/>
              <a:gd name="connsiteY39" fmla="*/ 3434542 h 6858000"/>
              <a:gd name="connsiteX40" fmla="*/ 5700048 w 7088212"/>
              <a:gd name="connsiteY40" fmla="*/ 6858000 h 6858000"/>
              <a:gd name="connsiteX41" fmla="*/ 5261334 w 7088212"/>
              <a:gd name="connsiteY41" fmla="*/ 6858000 h 6858000"/>
              <a:gd name="connsiteX42" fmla="*/ 3592751 w 7088212"/>
              <a:gd name="connsiteY42" fmla="*/ 3434542 h 6858000"/>
              <a:gd name="connsiteX43" fmla="*/ 4787634 w 7088212"/>
              <a:gd name="connsiteY43" fmla="*/ 1 h 6858000"/>
              <a:gd name="connsiteX44" fmla="*/ 5178319 w 7088212"/>
              <a:gd name="connsiteY44" fmla="*/ 1 h 6858000"/>
              <a:gd name="connsiteX45" fmla="*/ 3513176 w 7088212"/>
              <a:gd name="connsiteY45" fmla="*/ 3434542 h 6858000"/>
              <a:gd name="connsiteX46" fmla="*/ 5182449 w 7088212"/>
              <a:gd name="connsiteY46" fmla="*/ 6858000 h 6858000"/>
              <a:gd name="connsiteX47" fmla="*/ 4791074 w 7088212"/>
              <a:gd name="connsiteY47" fmla="*/ 6858000 h 6858000"/>
              <a:gd name="connsiteX48" fmla="*/ 3122491 w 7088212"/>
              <a:gd name="connsiteY48" fmla="*/ 3434542 h 6858000"/>
              <a:gd name="connsiteX49" fmla="*/ 4309493 w 7088212"/>
              <a:gd name="connsiteY49" fmla="*/ 1 h 6858000"/>
              <a:gd name="connsiteX50" fmla="*/ 4668049 w 7088212"/>
              <a:gd name="connsiteY50" fmla="*/ 1 h 6858000"/>
              <a:gd name="connsiteX51" fmla="*/ 3003495 w 7088212"/>
              <a:gd name="connsiteY51" fmla="*/ 3434542 h 6858000"/>
              <a:gd name="connsiteX52" fmla="*/ 4672078 w 7088212"/>
              <a:gd name="connsiteY52" fmla="*/ 6858000 h 6858000"/>
              <a:gd name="connsiteX53" fmla="*/ 4312934 w 7088212"/>
              <a:gd name="connsiteY53" fmla="*/ 6858000 h 6858000"/>
              <a:gd name="connsiteX54" fmla="*/ 2644351 w 7088212"/>
              <a:gd name="connsiteY54" fmla="*/ 3434542 h 6858000"/>
              <a:gd name="connsiteX55" fmla="*/ 3827179 w 7088212"/>
              <a:gd name="connsiteY55" fmla="*/ 1 h 6858000"/>
              <a:gd name="connsiteX56" fmla="*/ 4161821 w 7088212"/>
              <a:gd name="connsiteY56" fmla="*/ 1 h 6858000"/>
              <a:gd name="connsiteX57" fmla="*/ 2496679 w 7088212"/>
              <a:gd name="connsiteY57" fmla="*/ 3434542 h 6858000"/>
              <a:gd name="connsiteX58" fmla="*/ 4165951 w 7088212"/>
              <a:gd name="connsiteY58" fmla="*/ 6858000 h 6858000"/>
              <a:gd name="connsiteX59" fmla="*/ 3831208 w 7088212"/>
              <a:gd name="connsiteY59" fmla="*/ 6858000 h 6858000"/>
              <a:gd name="connsiteX60" fmla="*/ 2162625 w 7088212"/>
              <a:gd name="connsiteY60" fmla="*/ 3434542 h 6858000"/>
              <a:gd name="connsiteX61" fmla="*/ 3396278 w 7088212"/>
              <a:gd name="connsiteY61" fmla="*/ 1 h 6858000"/>
              <a:gd name="connsiteX62" fmla="*/ 3658775 w 7088212"/>
              <a:gd name="connsiteY62" fmla="*/ 1 h 6858000"/>
              <a:gd name="connsiteX63" fmla="*/ 1994222 w 7088212"/>
              <a:gd name="connsiteY63" fmla="*/ 3434542 h 6858000"/>
              <a:gd name="connsiteX64" fmla="*/ 3662804 w 7088212"/>
              <a:gd name="connsiteY64" fmla="*/ 6858000 h 6858000"/>
              <a:gd name="connsiteX65" fmla="*/ 3399719 w 7088212"/>
              <a:gd name="connsiteY65" fmla="*/ 6858000 h 6858000"/>
              <a:gd name="connsiteX66" fmla="*/ 1731136 w 7088212"/>
              <a:gd name="connsiteY66" fmla="*/ 3434542 h 6858000"/>
              <a:gd name="connsiteX67" fmla="*/ 2965904 w 7088212"/>
              <a:gd name="connsiteY67" fmla="*/ 0 h 6858000"/>
              <a:gd name="connsiteX68" fmla="*/ 3196732 w 7088212"/>
              <a:gd name="connsiteY68" fmla="*/ 0 h 6858000"/>
              <a:gd name="connsiteX69" fmla="*/ 1531590 w 7088212"/>
              <a:gd name="connsiteY69" fmla="*/ 3434542 h 6858000"/>
              <a:gd name="connsiteX70" fmla="*/ 3200863 w 7088212"/>
              <a:gd name="connsiteY70" fmla="*/ 6858000 h 6858000"/>
              <a:gd name="connsiteX71" fmla="*/ 2969345 w 7088212"/>
              <a:gd name="connsiteY71" fmla="*/ 6858000 h 6858000"/>
              <a:gd name="connsiteX72" fmla="*/ 1300762 w 7088212"/>
              <a:gd name="connsiteY72" fmla="*/ 3434542 h 6858000"/>
              <a:gd name="connsiteX73" fmla="*/ 2506592 w 7088212"/>
              <a:gd name="connsiteY73" fmla="*/ 0 h 6858000"/>
              <a:gd name="connsiteX74" fmla="*/ 2690136 w 7088212"/>
              <a:gd name="connsiteY74" fmla="*/ 0 h 6858000"/>
              <a:gd name="connsiteX75" fmla="*/ 1025582 w 7088212"/>
              <a:gd name="connsiteY75" fmla="*/ 3434542 h 6858000"/>
              <a:gd name="connsiteX76" fmla="*/ 2694165 w 7088212"/>
              <a:gd name="connsiteY76" fmla="*/ 6858000 h 6858000"/>
              <a:gd name="connsiteX77" fmla="*/ 2510651 w 7088212"/>
              <a:gd name="connsiteY77" fmla="*/ 6858000 h 6858000"/>
              <a:gd name="connsiteX78" fmla="*/ 842068 w 7088212"/>
              <a:gd name="connsiteY78" fmla="*/ 3434542 h 6858000"/>
              <a:gd name="connsiteX79" fmla="*/ 859272 w 7088212"/>
              <a:gd name="connsiteY79" fmla="*/ 3398698 h 6858000"/>
              <a:gd name="connsiteX80" fmla="*/ 2066862 w 7088212"/>
              <a:gd name="connsiteY80" fmla="*/ 0 h 6858000"/>
              <a:gd name="connsiteX81" fmla="*/ 2178634 w 7088212"/>
              <a:gd name="connsiteY81" fmla="*/ 0 h 6858000"/>
              <a:gd name="connsiteX82" fmla="*/ 513490 w 7088212"/>
              <a:gd name="connsiteY82" fmla="*/ 3434542 h 6858000"/>
              <a:gd name="connsiteX83" fmla="*/ 2182763 w 7088212"/>
              <a:gd name="connsiteY83" fmla="*/ 6858000 h 6858000"/>
              <a:gd name="connsiteX84" fmla="*/ 2070961 w 7088212"/>
              <a:gd name="connsiteY84" fmla="*/ 6858000 h 6858000"/>
              <a:gd name="connsiteX85" fmla="*/ 402378 w 7088212"/>
              <a:gd name="connsiteY85" fmla="*/ 3434542 h 6858000"/>
              <a:gd name="connsiteX86" fmla="*/ 412414 w 7088212"/>
              <a:gd name="connsiteY86" fmla="*/ 3413036 h 6858000"/>
              <a:gd name="connsiteX87" fmla="*/ 1664655 w 7088212"/>
              <a:gd name="connsiteY87" fmla="*/ 0 h 6858000"/>
              <a:gd name="connsiteX88" fmla="*/ 1736238 w 7088212"/>
              <a:gd name="connsiteY88" fmla="*/ 0 h 6858000"/>
              <a:gd name="connsiteX89" fmla="*/ 71684 w 7088212"/>
              <a:gd name="connsiteY89" fmla="*/ 3434542 h 6858000"/>
              <a:gd name="connsiteX90" fmla="*/ 1740267 w 7088212"/>
              <a:gd name="connsiteY90" fmla="*/ 6858000 h 6858000"/>
              <a:gd name="connsiteX91" fmla="*/ 1668582 w 7088212"/>
              <a:gd name="connsiteY91" fmla="*/ 6858000 h 6858000"/>
              <a:gd name="connsiteX92" fmla="*/ 0 w 7088212"/>
              <a:gd name="connsiteY92" fmla="*/ 3434545 h 6858000"/>
              <a:gd name="connsiteX93" fmla="*/ 0 w 7088212"/>
              <a:gd name="connsiteY93" fmla="*/ 3434539 h 6858000"/>
              <a:gd name="connsiteX94" fmla="*/ 7167 w 7088212"/>
              <a:gd name="connsiteY94" fmla="*/ 34209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7088212" h="6858000">
                <a:moveTo>
                  <a:pt x="7088212" y="2316551"/>
                </a:moveTo>
                <a:lnTo>
                  <a:pt x="7088212" y="3270182"/>
                </a:lnTo>
                <a:lnTo>
                  <a:pt x="7088212" y="3597980"/>
                </a:lnTo>
                <a:lnTo>
                  <a:pt x="7088212" y="4546633"/>
                </a:lnTo>
                <a:lnTo>
                  <a:pt x="6546184" y="3434544"/>
                </a:lnTo>
                <a:close/>
                <a:moveTo>
                  <a:pt x="7088212" y="1297052"/>
                </a:moveTo>
                <a:lnTo>
                  <a:pt x="7088212" y="2251081"/>
                </a:lnTo>
                <a:lnTo>
                  <a:pt x="6514644" y="3434545"/>
                </a:lnTo>
                <a:lnTo>
                  <a:pt x="7088212" y="4611344"/>
                </a:lnTo>
                <a:lnTo>
                  <a:pt x="7088212" y="5559997"/>
                </a:lnTo>
                <a:lnTo>
                  <a:pt x="6052274" y="3434545"/>
                </a:lnTo>
                <a:close/>
                <a:moveTo>
                  <a:pt x="7088212" y="286451"/>
                </a:moveTo>
                <a:lnTo>
                  <a:pt x="7088212" y="1223092"/>
                </a:lnTo>
                <a:lnTo>
                  <a:pt x="6016431" y="3434543"/>
                </a:lnTo>
                <a:lnTo>
                  <a:pt x="7088212" y="5633535"/>
                </a:lnTo>
                <a:lnTo>
                  <a:pt x="7088212" y="6566009"/>
                </a:lnTo>
                <a:lnTo>
                  <a:pt x="5561946" y="3434543"/>
                </a:lnTo>
                <a:close/>
                <a:moveTo>
                  <a:pt x="6736761" y="1"/>
                </a:moveTo>
                <a:lnTo>
                  <a:pt x="7088212" y="1"/>
                </a:lnTo>
                <a:lnTo>
                  <a:pt x="7088212" y="195109"/>
                </a:lnTo>
                <a:lnTo>
                  <a:pt x="5518218" y="3434542"/>
                </a:lnTo>
                <a:lnTo>
                  <a:pt x="7088212" y="6655729"/>
                </a:lnTo>
                <a:lnTo>
                  <a:pt x="7088212" y="6858000"/>
                </a:lnTo>
                <a:lnTo>
                  <a:pt x="6740201" y="6858000"/>
                </a:lnTo>
                <a:lnTo>
                  <a:pt x="5071618" y="3434542"/>
                </a:lnTo>
                <a:close/>
                <a:moveTo>
                  <a:pt x="6238549" y="1"/>
                </a:moveTo>
                <a:lnTo>
                  <a:pt x="6692444" y="1"/>
                </a:lnTo>
                <a:lnTo>
                  <a:pt x="5027891" y="3434542"/>
                </a:lnTo>
                <a:lnTo>
                  <a:pt x="6696474" y="6858000"/>
                </a:lnTo>
                <a:lnTo>
                  <a:pt x="6241989" y="6858000"/>
                </a:lnTo>
                <a:lnTo>
                  <a:pt x="4573406" y="3434542"/>
                </a:lnTo>
                <a:close/>
                <a:moveTo>
                  <a:pt x="5748221" y="1"/>
                </a:moveTo>
                <a:lnTo>
                  <a:pt x="6194231" y="1"/>
                </a:lnTo>
                <a:lnTo>
                  <a:pt x="4529678" y="3434542"/>
                </a:lnTo>
                <a:lnTo>
                  <a:pt x="6198261" y="6858000"/>
                </a:lnTo>
                <a:lnTo>
                  <a:pt x="5751661" y="6858000"/>
                </a:lnTo>
                <a:lnTo>
                  <a:pt x="4083078" y="3434542"/>
                </a:lnTo>
                <a:close/>
                <a:moveTo>
                  <a:pt x="5257893" y="1"/>
                </a:moveTo>
                <a:lnTo>
                  <a:pt x="5696019" y="1"/>
                </a:lnTo>
                <a:lnTo>
                  <a:pt x="4031465" y="3434542"/>
                </a:lnTo>
                <a:lnTo>
                  <a:pt x="5700048" y="6858000"/>
                </a:lnTo>
                <a:lnTo>
                  <a:pt x="5261334" y="6858000"/>
                </a:lnTo>
                <a:lnTo>
                  <a:pt x="3592751" y="3434542"/>
                </a:lnTo>
                <a:close/>
                <a:moveTo>
                  <a:pt x="4787634" y="1"/>
                </a:moveTo>
                <a:lnTo>
                  <a:pt x="5178319" y="1"/>
                </a:lnTo>
                <a:lnTo>
                  <a:pt x="3513176" y="3434542"/>
                </a:lnTo>
                <a:lnTo>
                  <a:pt x="5182449" y="6858000"/>
                </a:lnTo>
                <a:lnTo>
                  <a:pt x="4791074" y="6858000"/>
                </a:lnTo>
                <a:lnTo>
                  <a:pt x="3122491" y="3434542"/>
                </a:lnTo>
                <a:close/>
                <a:moveTo>
                  <a:pt x="4309493" y="1"/>
                </a:moveTo>
                <a:lnTo>
                  <a:pt x="4668049" y="1"/>
                </a:lnTo>
                <a:lnTo>
                  <a:pt x="3003495" y="3434542"/>
                </a:lnTo>
                <a:lnTo>
                  <a:pt x="4672078" y="6858000"/>
                </a:lnTo>
                <a:lnTo>
                  <a:pt x="4312934" y="6858000"/>
                </a:lnTo>
                <a:lnTo>
                  <a:pt x="2644351" y="3434542"/>
                </a:lnTo>
                <a:close/>
                <a:moveTo>
                  <a:pt x="3827179" y="1"/>
                </a:moveTo>
                <a:lnTo>
                  <a:pt x="4161821" y="1"/>
                </a:lnTo>
                <a:lnTo>
                  <a:pt x="2496679" y="3434542"/>
                </a:lnTo>
                <a:lnTo>
                  <a:pt x="4165951" y="6858000"/>
                </a:lnTo>
                <a:lnTo>
                  <a:pt x="3831208" y="6858000"/>
                </a:lnTo>
                <a:lnTo>
                  <a:pt x="2162625" y="3434542"/>
                </a:lnTo>
                <a:close/>
                <a:moveTo>
                  <a:pt x="3396278" y="1"/>
                </a:moveTo>
                <a:lnTo>
                  <a:pt x="3658775" y="1"/>
                </a:lnTo>
                <a:lnTo>
                  <a:pt x="1994222" y="3434542"/>
                </a:lnTo>
                <a:lnTo>
                  <a:pt x="3662804" y="6858000"/>
                </a:lnTo>
                <a:lnTo>
                  <a:pt x="3399719" y="6858000"/>
                </a:lnTo>
                <a:lnTo>
                  <a:pt x="1731136" y="3434542"/>
                </a:lnTo>
                <a:close/>
                <a:moveTo>
                  <a:pt x="2965904" y="0"/>
                </a:moveTo>
                <a:lnTo>
                  <a:pt x="3196732" y="0"/>
                </a:lnTo>
                <a:lnTo>
                  <a:pt x="1531590" y="3434542"/>
                </a:lnTo>
                <a:lnTo>
                  <a:pt x="3200863" y="6858000"/>
                </a:lnTo>
                <a:lnTo>
                  <a:pt x="2969345" y="6858000"/>
                </a:lnTo>
                <a:lnTo>
                  <a:pt x="1300762" y="3434542"/>
                </a:lnTo>
                <a:close/>
                <a:moveTo>
                  <a:pt x="2506592" y="0"/>
                </a:moveTo>
                <a:lnTo>
                  <a:pt x="2690136" y="0"/>
                </a:lnTo>
                <a:lnTo>
                  <a:pt x="1025582" y="3434542"/>
                </a:lnTo>
                <a:lnTo>
                  <a:pt x="2694165" y="6858000"/>
                </a:lnTo>
                <a:lnTo>
                  <a:pt x="2510651" y="6858000"/>
                </a:lnTo>
                <a:lnTo>
                  <a:pt x="842068" y="3434542"/>
                </a:lnTo>
                <a:lnTo>
                  <a:pt x="859272" y="3398698"/>
                </a:lnTo>
                <a:close/>
                <a:moveTo>
                  <a:pt x="2066862" y="0"/>
                </a:moveTo>
                <a:lnTo>
                  <a:pt x="2178634" y="0"/>
                </a:lnTo>
                <a:lnTo>
                  <a:pt x="513490" y="3434542"/>
                </a:lnTo>
                <a:lnTo>
                  <a:pt x="2182763" y="6858000"/>
                </a:lnTo>
                <a:lnTo>
                  <a:pt x="2070961" y="6858000"/>
                </a:lnTo>
                <a:lnTo>
                  <a:pt x="402378" y="3434542"/>
                </a:lnTo>
                <a:lnTo>
                  <a:pt x="412414" y="3413036"/>
                </a:lnTo>
                <a:close/>
                <a:moveTo>
                  <a:pt x="1664655" y="0"/>
                </a:moveTo>
                <a:lnTo>
                  <a:pt x="1736238" y="0"/>
                </a:lnTo>
                <a:lnTo>
                  <a:pt x="71684" y="3434542"/>
                </a:lnTo>
                <a:lnTo>
                  <a:pt x="1740267" y="6858000"/>
                </a:lnTo>
                <a:lnTo>
                  <a:pt x="1668582" y="6858000"/>
                </a:lnTo>
                <a:lnTo>
                  <a:pt x="0" y="3434545"/>
                </a:lnTo>
                <a:lnTo>
                  <a:pt x="0" y="3434539"/>
                </a:lnTo>
                <a:lnTo>
                  <a:pt x="7167" y="3420921"/>
                </a:lnTo>
                <a:close/>
              </a:path>
            </a:pathLst>
          </a:custGeom>
          <a:solidFill>
            <a:schemeClr val="tx2"/>
          </a:solidFill>
          <a:effectLst/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>
                <a:solidFill>
                  <a:schemeClr val="bg1"/>
                </a:solidFill>
              </a:defRPr>
            </a:lvl1pPr>
          </a:lstStyle>
          <a:p>
            <a:pPr marL="146300" lvl="0" indent="-146300" algn="ctr"/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7822475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6.25E-7 4.44444E-6 L 6.25E-7 0.05162 " pathEditMode="relative" rAng="0" ptsTypes="AA">
                                      <p:cBhvr>
                                        <p:cTn id="12" dur="750" spd="-100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69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1" build="p">
        <p:tmplLst>
          <p:tmpl lvl="1"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6.25E-7 4.44444E-6 L 6.25E-7 0.05162 " pathEditMode="relative" rAng="0" ptsTypes="AA">
                      <p:cBhvr>
                        <p:cTn dur="750" spd="-100000" fill="hold"/>
                        <p:tgtEl>
                          <p:spTgt spid="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2569"/>
                    </p:animMotion>
                  </p:childTnLst>
                </p:cTn>
              </p:par>
            </p:tnLst>
          </p:tmpl>
        </p:tmplLst>
      </p:bldP>
      <p:bldP spid="4" grpId="0"/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- Inse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5709" y="1189821"/>
            <a:ext cx="4319999" cy="2650659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3600">
                <a:solidFill>
                  <a:schemeClr val="tx2"/>
                </a:solidFill>
                <a:effectLst/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IDEMIA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5707" y="4102388"/>
            <a:ext cx="4320000" cy="1440000"/>
          </a:xfrm>
          <a:noFill/>
          <a:effectLst/>
        </p:spPr>
        <p:txBody>
          <a:bodyPr vert="horz" lIns="0" tIns="0" rIns="0" bIns="0" rtlCol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US" sz="2000" b="0" i="0" dirty="0">
                <a:solidFill>
                  <a:schemeClr val="tx1"/>
                </a:solidFill>
              </a:defRPr>
            </a:lvl1pPr>
          </a:lstStyle>
          <a:p>
            <a:pPr marL="146300" lvl="0" indent="-146300">
              <a:spcBef>
                <a:spcPts val="0"/>
              </a:spcBef>
              <a:spcAft>
                <a:spcPts val="800"/>
              </a:spcAft>
            </a:pPr>
            <a:r>
              <a:rPr lang="en-US" dirty="0"/>
              <a:t>Insert subtitle here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35708" y="6375123"/>
            <a:ext cx="2328672" cy="20512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l">
              <a:defRPr lang="en-US" sz="1333" b="0" smtClean="0">
                <a:solidFill>
                  <a:srgbClr val="768A9A"/>
                </a:solidFill>
                <a:latin typeface="Arial"/>
              </a:defRPr>
            </a:lvl1pPr>
          </a:lstStyle>
          <a:p>
            <a:pPr defTabSz="914377"/>
            <a:fld id="{33FFAEF0-DA47-4D53-8E07-BE5AA02E4C30}" type="datetime1">
              <a:rPr lang="en-US" smtClean="0"/>
              <a:t>2/17/2023</a:t>
            </a:fld>
            <a:endParaRPr lang="en-US" dirty="0"/>
          </a:p>
        </p:txBody>
      </p:sp>
      <p:grpSp>
        <p:nvGrpSpPr>
          <p:cNvPr id="131" name="Group 6">
            <a:extLst>
              <a:ext uri="{FF2B5EF4-FFF2-40B4-BE49-F238E27FC236}">
                <a16:creationId xmlns:a16="http://schemas.microsoft.com/office/drawing/2014/main" id="{2F2C2701-CCA7-4290-81A8-F02B34EFCE7C}"/>
              </a:ext>
            </a:extLst>
          </p:cNvPr>
          <p:cNvGrpSpPr/>
          <p:nvPr/>
        </p:nvGrpSpPr>
        <p:grpSpPr bwMode="black">
          <a:xfrm>
            <a:off x="635708" y="622301"/>
            <a:ext cx="911669" cy="230212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CC2EE4D3-0CE7-4A96-B4BE-7F5CD5FA3ACB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 6">
              <a:extLst>
                <a:ext uri="{FF2B5EF4-FFF2-40B4-BE49-F238E27FC236}">
                  <a16:creationId xmlns:a16="http://schemas.microsoft.com/office/drawing/2014/main" id="{8A1F9E01-43DB-4F91-AF8C-6E73E0130DE4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 7">
              <a:extLst>
                <a:ext uri="{FF2B5EF4-FFF2-40B4-BE49-F238E27FC236}">
                  <a16:creationId xmlns:a16="http://schemas.microsoft.com/office/drawing/2014/main" id="{FA04AF4E-0CEF-4BBE-95C3-3D2C8577AA9C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Freeform 8">
              <a:extLst>
                <a:ext uri="{FF2B5EF4-FFF2-40B4-BE49-F238E27FC236}">
                  <a16:creationId xmlns:a16="http://schemas.microsoft.com/office/drawing/2014/main" id="{7919488A-9DB6-48AC-A14D-E639BE5F6A9D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 9">
              <a:extLst>
                <a:ext uri="{FF2B5EF4-FFF2-40B4-BE49-F238E27FC236}">
                  <a16:creationId xmlns:a16="http://schemas.microsoft.com/office/drawing/2014/main" id="{4710171C-5150-4A9D-8099-BF9696999E0F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8" name="Espace réservé pour une image  29">
            <a:extLst>
              <a:ext uri="{FF2B5EF4-FFF2-40B4-BE49-F238E27FC236}">
                <a16:creationId xmlns:a16="http://schemas.microsoft.com/office/drawing/2014/main" id="{2EA2AB0D-96FE-4DD7-985A-0AEE0B9E2AD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103788" y="0"/>
            <a:ext cx="7088212" cy="6858000"/>
          </a:xfrm>
          <a:custGeom>
            <a:avLst/>
            <a:gdLst>
              <a:gd name="connsiteX0" fmla="*/ 7088212 w 7088212"/>
              <a:gd name="connsiteY0" fmla="*/ 2316551 h 6858000"/>
              <a:gd name="connsiteX1" fmla="*/ 7088212 w 7088212"/>
              <a:gd name="connsiteY1" fmla="*/ 3270182 h 6858000"/>
              <a:gd name="connsiteX2" fmla="*/ 7088212 w 7088212"/>
              <a:gd name="connsiteY2" fmla="*/ 3597980 h 6858000"/>
              <a:gd name="connsiteX3" fmla="*/ 7088212 w 7088212"/>
              <a:gd name="connsiteY3" fmla="*/ 4546633 h 6858000"/>
              <a:gd name="connsiteX4" fmla="*/ 6546184 w 7088212"/>
              <a:gd name="connsiteY4" fmla="*/ 3434544 h 6858000"/>
              <a:gd name="connsiteX5" fmla="*/ 7088212 w 7088212"/>
              <a:gd name="connsiteY5" fmla="*/ 1297052 h 6858000"/>
              <a:gd name="connsiteX6" fmla="*/ 7088212 w 7088212"/>
              <a:gd name="connsiteY6" fmla="*/ 2251081 h 6858000"/>
              <a:gd name="connsiteX7" fmla="*/ 6514644 w 7088212"/>
              <a:gd name="connsiteY7" fmla="*/ 3434545 h 6858000"/>
              <a:gd name="connsiteX8" fmla="*/ 7088212 w 7088212"/>
              <a:gd name="connsiteY8" fmla="*/ 4611344 h 6858000"/>
              <a:gd name="connsiteX9" fmla="*/ 7088212 w 7088212"/>
              <a:gd name="connsiteY9" fmla="*/ 5559997 h 6858000"/>
              <a:gd name="connsiteX10" fmla="*/ 6052274 w 7088212"/>
              <a:gd name="connsiteY10" fmla="*/ 3434545 h 6858000"/>
              <a:gd name="connsiteX11" fmla="*/ 7088212 w 7088212"/>
              <a:gd name="connsiteY11" fmla="*/ 286451 h 6858000"/>
              <a:gd name="connsiteX12" fmla="*/ 7088212 w 7088212"/>
              <a:gd name="connsiteY12" fmla="*/ 1223092 h 6858000"/>
              <a:gd name="connsiteX13" fmla="*/ 6016431 w 7088212"/>
              <a:gd name="connsiteY13" fmla="*/ 3434543 h 6858000"/>
              <a:gd name="connsiteX14" fmla="*/ 7088212 w 7088212"/>
              <a:gd name="connsiteY14" fmla="*/ 5633535 h 6858000"/>
              <a:gd name="connsiteX15" fmla="*/ 7088212 w 7088212"/>
              <a:gd name="connsiteY15" fmla="*/ 6566009 h 6858000"/>
              <a:gd name="connsiteX16" fmla="*/ 5561946 w 7088212"/>
              <a:gd name="connsiteY16" fmla="*/ 3434543 h 6858000"/>
              <a:gd name="connsiteX17" fmla="*/ 6736761 w 7088212"/>
              <a:gd name="connsiteY17" fmla="*/ 1 h 6858000"/>
              <a:gd name="connsiteX18" fmla="*/ 7088212 w 7088212"/>
              <a:gd name="connsiteY18" fmla="*/ 1 h 6858000"/>
              <a:gd name="connsiteX19" fmla="*/ 7088212 w 7088212"/>
              <a:gd name="connsiteY19" fmla="*/ 195109 h 6858000"/>
              <a:gd name="connsiteX20" fmla="*/ 5518218 w 7088212"/>
              <a:gd name="connsiteY20" fmla="*/ 3434542 h 6858000"/>
              <a:gd name="connsiteX21" fmla="*/ 7088212 w 7088212"/>
              <a:gd name="connsiteY21" fmla="*/ 6655729 h 6858000"/>
              <a:gd name="connsiteX22" fmla="*/ 7088212 w 7088212"/>
              <a:gd name="connsiteY22" fmla="*/ 6858000 h 6858000"/>
              <a:gd name="connsiteX23" fmla="*/ 6740201 w 7088212"/>
              <a:gd name="connsiteY23" fmla="*/ 6858000 h 6858000"/>
              <a:gd name="connsiteX24" fmla="*/ 5071618 w 7088212"/>
              <a:gd name="connsiteY24" fmla="*/ 3434542 h 6858000"/>
              <a:gd name="connsiteX25" fmla="*/ 6238549 w 7088212"/>
              <a:gd name="connsiteY25" fmla="*/ 1 h 6858000"/>
              <a:gd name="connsiteX26" fmla="*/ 6692444 w 7088212"/>
              <a:gd name="connsiteY26" fmla="*/ 1 h 6858000"/>
              <a:gd name="connsiteX27" fmla="*/ 5027891 w 7088212"/>
              <a:gd name="connsiteY27" fmla="*/ 3434542 h 6858000"/>
              <a:gd name="connsiteX28" fmla="*/ 6696474 w 7088212"/>
              <a:gd name="connsiteY28" fmla="*/ 6858000 h 6858000"/>
              <a:gd name="connsiteX29" fmla="*/ 6241989 w 7088212"/>
              <a:gd name="connsiteY29" fmla="*/ 6858000 h 6858000"/>
              <a:gd name="connsiteX30" fmla="*/ 4573406 w 7088212"/>
              <a:gd name="connsiteY30" fmla="*/ 3434542 h 6858000"/>
              <a:gd name="connsiteX31" fmla="*/ 5748221 w 7088212"/>
              <a:gd name="connsiteY31" fmla="*/ 1 h 6858000"/>
              <a:gd name="connsiteX32" fmla="*/ 6194231 w 7088212"/>
              <a:gd name="connsiteY32" fmla="*/ 1 h 6858000"/>
              <a:gd name="connsiteX33" fmla="*/ 4529678 w 7088212"/>
              <a:gd name="connsiteY33" fmla="*/ 3434542 h 6858000"/>
              <a:gd name="connsiteX34" fmla="*/ 6198261 w 7088212"/>
              <a:gd name="connsiteY34" fmla="*/ 6858000 h 6858000"/>
              <a:gd name="connsiteX35" fmla="*/ 5751661 w 7088212"/>
              <a:gd name="connsiteY35" fmla="*/ 6858000 h 6858000"/>
              <a:gd name="connsiteX36" fmla="*/ 4083078 w 7088212"/>
              <a:gd name="connsiteY36" fmla="*/ 3434542 h 6858000"/>
              <a:gd name="connsiteX37" fmla="*/ 5257893 w 7088212"/>
              <a:gd name="connsiteY37" fmla="*/ 1 h 6858000"/>
              <a:gd name="connsiteX38" fmla="*/ 5696019 w 7088212"/>
              <a:gd name="connsiteY38" fmla="*/ 1 h 6858000"/>
              <a:gd name="connsiteX39" fmla="*/ 4031465 w 7088212"/>
              <a:gd name="connsiteY39" fmla="*/ 3434542 h 6858000"/>
              <a:gd name="connsiteX40" fmla="*/ 5700048 w 7088212"/>
              <a:gd name="connsiteY40" fmla="*/ 6858000 h 6858000"/>
              <a:gd name="connsiteX41" fmla="*/ 5261334 w 7088212"/>
              <a:gd name="connsiteY41" fmla="*/ 6858000 h 6858000"/>
              <a:gd name="connsiteX42" fmla="*/ 3592751 w 7088212"/>
              <a:gd name="connsiteY42" fmla="*/ 3434542 h 6858000"/>
              <a:gd name="connsiteX43" fmla="*/ 4787634 w 7088212"/>
              <a:gd name="connsiteY43" fmla="*/ 1 h 6858000"/>
              <a:gd name="connsiteX44" fmla="*/ 5178319 w 7088212"/>
              <a:gd name="connsiteY44" fmla="*/ 1 h 6858000"/>
              <a:gd name="connsiteX45" fmla="*/ 3513176 w 7088212"/>
              <a:gd name="connsiteY45" fmla="*/ 3434542 h 6858000"/>
              <a:gd name="connsiteX46" fmla="*/ 5182449 w 7088212"/>
              <a:gd name="connsiteY46" fmla="*/ 6858000 h 6858000"/>
              <a:gd name="connsiteX47" fmla="*/ 4791074 w 7088212"/>
              <a:gd name="connsiteY47" fmla="*/ 6858000 h 6858000"/>
              <a:gd name="connsiteX48" fmla="*/ 3122491 w 7088212"/>
              <a:gd name="connsiteY48" fmla="*/ 3434542 h 6858000"/>
              <a:gd name="connsiteX49" fmla="*/ 4309493 w 7088212"/>
              <a:gd name="connsiteY49" fmla="*/ 1 h 6858000"/>
              <a:gd name="connsiteX50" fmla="*/ 4668049 w 7088212"/>
              <a:gd name="connsiteY50" fmla="*/ 1 h 6858000"/>
              <a:gd name="connsiteX51" fmla="*/ 3003495 w 7088212"/>
              <a:gd name="connsiteY51" fmla="*/ 3434542 h 6858000"/>
              <a:gd name="connsiteX52" fmla="*/ 4672078 w 7088212"/>
              <a:gd name="connsiteY52" fmla="*/ 6858000 h 6858000"/>
              <a:gd name="connsiteX53" fmla="*/ 4312934 w 7088212"/>
              <a:gd name="connsiteY53" fmla="*/ 6858000 h 6858000"/>
              <a:gd name="connsiteX54" fmla="*/ 2644351 w 7088212"/>
              <a:gd name="connsiteY54" fmla="*/ 3434542 h 6858000"/>
              <a:gd name="connsiteX55" fmla="*/ 3827179 w 7088212"/>
              <a:gd name="connsiteY55" fmla="*/ 1 h 6858000"/>
              <a:gd name="connsiteX56" fmla="*/ 4161821 w 7088212"/>
              <a:gd name="connsiteY56" fmla="*/ 1 h 6858000"/>
              <a:gd name="connsiteX57" fmla="*/ 2496679 w 7088212"/>
              <a:gd name="connsiteY57" fmla="*/ 3434542 h 6858000"/>
              <a:gd name="connsiteX58" fmla="*/ 4165951 w 7088212"/>
              <a:gd name="connsiteY58" fmla="*/ 6858000 h 6858000"/>
              <a:gd name="connsiteX59" fmla="*/ 3831208 w 7088212"/>
              <a:gd name="connsiteY59" fmla="*/ 6858000 h 6858000"/>
              <a:gd name="connsiteX60" fmla="*/ 2162625 w 7088212"/>
              <a:gd name="connsiteY60" fmla="*/ 3434542 h 6858000"/>
              <a:gd name="connsiteX61" fmla="*/ 3396278 w 7088212"/>
              <a:gd name="connsiteY61" fmla="*/ 1 h 6858000"/>
              <a:gd name="connsiteX62" fmla="*/ 3658775 w 7088212"/>
              <a:gd name="connsiteY62" fmla="*/ 1 h 6858000"/>
              <a:gd name="connsiteX63" fmla="*/ 1994222 w 7088212"/>
              <a:gd name="connsiteY63" fmla="*/ 3434542 h 6858000"/>
              <a:gd name="connsiteX64" fmla="*/ 3662804 w 7088212"/>
              <a:gd name="connsiteY64" fmla="*/ 6858000 h 6858000"/>
              <a:gd name="connsiteX65" fmla="*/ 3399719 w 7088212"/>
              <a:gd name="connsiteY65" fmla="*/ 6858000 h 6858000"/>
              <a:gd name="connsiteX66" fmla="*/ 1731136 w 7088212"/>
              <a:gd name="connsiteY66" fmla="*/ 3434542 h 6858000"/>
              <a:gd name="connsiteX67" fmla="*/ 2965904 w 7088212"/>
              <a:gd name="connsiteY67" fmla="*/ 0 h 6858000"/>
              <a:gd name="connsiteX68" fmla="*/ 3196732 w 7088212"/>
              <a:gd name="connsiteY68" fmla="*/ 0 h 6858000"/>
              <a:gd name="connsiteX69" fmla="*/ 1531590 w 7088212"/>
              <a:gd name="connsiteY69" fmla="*/ 3434542 h 6858000"/>
              <a:gd name="connsiteX70" fmla="*/ 3200863 w 7088212"/>
              <a:gd name="connsiteY70" fmla="*/ 6858000 h 6858000"/>
              <a:gd name="connsiteX71" fmla="*/ 2969345 w 7088212"/>
              <a:gd name="connsiteY71" fmla="*/ 6858000 h 6858000"/>
              <a:gd name="connsiteX72" fmla="*/ 1300762 w 7088212"/>
              <a:gd name="connsiteY72" fmla="*/ 3434542 h 6858000"/>
              <a:gd name="connsiteX73" fmla="*/ 2506592 w 7088212"/>
              <a:gd name="connsiteY73" fmla="*/ 0 h 6858000"/>
              <a:gd name="connsiteX74" fmla="*/ 2690136 w 7088212"/>
              <a:gd name="connsiteY74" fmla="*/ 0 h 6858000"/>
              <a:gd name="connsiteX75" fmla="*/ 1025582 w 7088212"/>
              <a:gd name="connsiteY75" fmla="*/ 3434542 h 6858000"/>
              <a:gd name="connsiteX76" fmla="*/ 2694165 w 7088212"/>
              <a:gd name="connsiteY76" fmla="*/ 6858000 h 6858000"/>
              <a:gd name="connsiteX77" fmla="*/ 2510651 w 7088212"/>
              <a:gd name="connsiteY77" fmla="*/ 6858000 h 6858000"/>
              <a:gd name="connsiteX78" fmla="*/ 842068 w 7088212"/>
              <a:gd name="connsiteY78" fmla="*/ 3434542 h 6858000"/>
              <a:gd name="connsiteX79" fmla="*/ 859272 w 7088212"/>
              <a:gd name="connsiteY79" fmla="*/ 3398698 h 6858000"/>
              <a:gd name="connsiteX80" fmla="*/ 2066862 w 7088212"/>
              <a:gd name="connsiteY80" fmla="*/ 0 h 6858000"/>
              <a:gd name="connsiteX81" fmla="*/ 2178634 w 7088212"/>
              <a:gd name="connsiteY81" fmla="*/ 0 h 6858000"/>
              <a:gd name="connsiteX82" fmla="*/ 513490 w 7088212"/>
              <a:gd name="connsiteY82" fmla="*/ 3434542 h 6858000"/>
              <a:gd name="connsiteX83" fmla="*/ 2182763 w 7088212"/>
              <a:gd name="connsiteY83" fmla="*/ 6858000 h 6858000"/>
              <a:gd name="connsiteX84" fmla="*/ 2070961 w 7088212"/>
              <a:gd name="connsiteY84" fmla="*/ 6858000 h 6858000"/>
              <a:gd name="connsiteX85" fmla="*/ 402378 w 7088212"/>
              <a:gd name="connsiteY85" fmla="*/ 3434542 h 6858000"/>
              <a:gd name="connsiteX86" fmla="*/ 412414 w 7088212"/>
              <a:gd name="connsiteY86" fmla="*/ 3413036 h 6858000"/>
              <a:gd name="connsiteX87" fmla="*/ 1664655 w 7088212"/>
              <a:gd name="connsiteY87" fmla="*/ 0 h 6858000"/>
              <a:gd name="connsiteX88" fmla="*/ 1736238 w 7088212"/>
              <a:gd name="connsiteY88" fmla="*/ 0 h 6858000"/>
              <a:gd name="connsiteX89" fmla="*/ 71684 w 7088212"/>
              <a:gd name="connsiteY89" fmla="*/ 3434542 h 6858000"/>
              <a:gd name="connsiteX90" fmla="*/ 1740267 w 7088212"/>
              <a:gd name="connsiteY90" fmla="*/ 6858000 h 6858000"/>
              <a:gd name="connsiteX91" fmla="*/ 1668582 w 7088212"/>
              <a:gd name="connsiteY91" fmla="*/ 6858000 h 6858000"/>
              <a:gd name="connsiteX92" fmla="*/ 0 w 7088212"/>
              <a:gd name="connsiteY92" fmla="*/ 3434545 h 6858000"/>
              <a:gd name="connsiteX93" fmla="*/ 0 w 7088212"/>
              <a:gd name="connsiteY93" fmla="*/ 3434539 h 6858000"/>
              <a:gd name="connsiteX94" fmla="*/ 7167 w 7088212"/>
              <a:gd name="connsiteY94" fmla="*/ 34209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7088212" h="6858000">
                <a:moveTo>
                  <a:pt x="7088212" y="2316551"/>
                </a:moveTo>
                <a:lnTo>
                  <a:pt x="7088212" y="3270182"/>
                </a:lnTo>
                <a:lnTo>
                  <a:pt x="7088212" y="3597980"/>
                </a:lnTo>
                <a:lnTo>
                  <a:pt x="7088212" y="4546633"/>
                </a:lnTo>
                <a:lnTo>
                  <a:pt x="6546184" y="3434544"/>
                </a:lnTo>
                <a:close/>
                <a:moveTo>
                  <a:pt x="7088212" y="1297052"/>
                </a:moveTo>
                <a:lnTo>
                  <a:pt x="7088212" y="2251081"/>
                </a:lnTo>
                <a:lnTo>
                  <a:pt x="6514644" y="3434545"/>
                </a:lnTo>
                <a:lnTo>
                  <a:pt x="7088212" y="4611344"/>
                </a:lnTo>
                <a:lnTo>
                  <a:pt x="7088212" y="5559997"/>
                </a:lnTo>
                <a:lnTo>
                  <a:pt x="6052274" y="3434545"/>
                </a:lnTo>
                <a:close/>
                <a:moveTo>
                  <a:pt x="7088212" y="286451"/>
                </a:moveTo>
                <a:lnTo>
                  <a:pt x="7088212" y="1223092"/>
                </a:lnTo>
                <a:lnTo>
                  <a:pt x="6016431" y="3434543"/>
                </a:lnTo>
                <a:lnTo>
                  <a:pt x="7088212" y="5633535"/>
                </a:lnTo>
                <a:lnTo>
                  <a:pt x="7088212" y="6566009"/>
                </a:lnTo>
                <a:lnTo>
                  <a:pt x="5561946" y="3434543"/>
                </a:lnTo>
                <a:close/>
                <a:moveTo>
                  <a:pt x="6736761" y="1"/>
                </a:moveTo>
                <a:lnTo>
                  <a:pt x="7088212" y="1"/>
                </a:lnTo>
                <a:lnTo>
                  <a:pt x="7088212" y="195109"/>
                </a:lnTo>
                <a:lnTo>
                  <a:pt x="5518218" y="3434542"/>
                </a:lnTo>
                <a:lnTo>
                  <a:pt x="7088212" y="6655729"/>
                </a:lnTo>
                <a:lnTo>
                  <a:pt x="7088212" y="6858000"/>
                </a:lnTo>
                <a:lnTo>
                  <a:pt x="6740201" y="6858000"/>
                </a:lnTo>
                <a:lnTo>
                  <a:pt x="5071618" y="3434542"/>
                </a:lnTo>
                <a:close/>
                <a:moveTo>
                  <a:pt x="6238549" y="1"/>
                </a:moveTo>
                <a:lnTo>
                  <a:pt x="6692444" y="1"/>
                </a:lnTo>
                <a:lnTo>
                  <a:pt x="5027891" y="3434542"/>
                </a:lnTo>
                <a:lnTo>
                  <a:pt x="6696474" y="6858000"/>
                </a:lnTo>
                <a:lnTo>
                  <a:pt x="6241989" y="6858000"/>
                </a:lnTo>
                <a:lnTo>
                  <a:pt x="4573406" y="3434542"/>
                </a:lnTo>
                <a:close/>
                <a:moveTo>
                  <a:pt x="5748221" y="1"/>
                </a:moveTo>
                <a:lnTo>
                  <a:pt x="6194231" y="1"/>
                </a:lnTo>
                <a:lnTo>
                  <a:pt x="4529678" y="3434542"/>
                </a:lnTo>
                <a:lnTo>
                  <a:pt x="6198261" y="6858000"/>
                </a:lnTo>
                <a:lnTo>
                  <a:pt x="5751661" y="6858000"/>
                </a:lnTo>
                <a:lnTo>
                  <a:pt x="4083078" y="3434542"/>
                </a:lnTo>
                <a:close/>
                <a:moveTo>
                  <a:pt x="5257893" y="1"/>
                </a:moveTo>
                <a:lnTo>
                  <a:pt x="5696019" y="1"/>
                </a:lnTo>
                <a:lnTo>
                  <a:pt x="4031465" y="3434542"/>
                </a:lnTo>
                <a:lnTo>
                  <a:pt x="5700048" y="6858000"/>
                </a:lnTo>
                <a:lnTo>
                  <a:pt x="5261334" y="6858000"/>
                </a:lnTo>
                <a:lnTo>
                  <a:pt x="3592751" y="3434542"/>
                </a:lnTo>
                <a:close/>
                <a:moveTo>
                  <a:pt x="4787634" y="1"/>
                </a:moveTo>
                <a:lnTo>
                  <a:pt x="5178319" y="1"/>
                </a:lnTo>
                <a:lnTo>
                  <a:pt x="3513176" y="3434542"/>
                </a:lnTo>
                <a:lnTo>
                  <a:pt x="5182449" y="6858000"/>
                </a:lnTo>
                <a:lnTo>
                  <a:pt x="4791074" y="6858000"/>
                </a:lnTo>
                <a:lnTo>
                  <a:pt x="3122491" y="3434542"/>
                </a:lnTo>
                <a:close/>
                <a:moveTo>
                  <a:pt x="4309493" y="1"/>
                </a:moveTo>
                <a:lnTo>
                  <a:pt x="4668049" y="1"/>
                </a:lnTo>
                <a:lnTo>
                  <a:pt x="3003495" y="3434542"/>
                </a:lnTo>
                <a:lnTo>
                  <a:pt x="4672078" y="6858000"/>
                </a:lnTo>
                <a:lnTo>
                  <a:pt x="4312934" y="6858000"/>
                </a:lnTo>
                <a:lnTo>
                  <a:pt x="2644351" y="3434542"/>
                </a:lnTo>
                <a:close/>
                <a:moveTo>
                  <a:pt x="3827179" y="1"/>
                </a:moveTo>
                <a:lnTo>
                  <a:pt x="4161821" y="1"/>
                </a:lnTo>
                <a:lnTo>
                  <a:pt x="2496679" y="3434542"/>
                </a:lnTo>
                <a:lnTo>
                  <a:pt x="4165951" y="6858000"/>
                </a:lnTo>
                <a:lnTo>
                  <a:pt x="3831208" y="6858000"/>
                </a:lnTo>
                <a:lnTo>
                  <a:pt x="2162625" y="3434542"/>
                </a:lnTo>
                <a:close/>
                <a:moveTo>
                  <a:pt x="3396278" y="1"/>
                </a:moveTo>
                <a:lnTo>
                  <a:pt x="3658775" y="1"/>
                </a:lnTo>
                <a:lnTo>
                  <a:pt x="1994222" y="3434542"/>
                </a:lnTo>
                <a:lnTo>
                  <a:pt x="3662804" y="6858000"/>
                </a:lnTo>
                <a:lnTo>
                  <a:pt x="3399719" y="6858000"/>
                </a:lnTo>
                <a:lnTo>
                  <a:pt x="1731136" y="3434542"/>
                </a:lnTo>
                <a:close/>
                <a:moveTo>
                  <a:pt x="2965904" y="0"/>
                </a:moveTo>
                <a:lnTo>
                  <a:pt x="3196732" y="0"/>
                </a:lnTo>
                <a:lnTo>
                  <a:pt x="1531590" y="3434542"/>
                </a:lnTo>
                <a:lnTo>
                  <a:pt x="3200863" y="6858000"/>
                </a:lnTo>
                <a:lnTo>
                  <a:pt x="2969345" y="6858000"/>
                </a:lnTo>
                <a:lnTo>
                  <a:pt x="1300762" y="3434542"/>
                </a:lnTo>
                <a:close/>
                <a:moveTo>
                  <a:pt x="2506592" y="0"/>
                </a:moveTo>
                <a:lnTo>
                  <a:pt x="2690136" y="0"/>
                </a:lnTo>
                <a:lnTo>
                  <a:pt x="1025582" y="3434542"/>
                </a:lnTo>
                <a:lnTo>
                  <a:pt x="2694165" y="6858000"/>
                </a:lnTo>
                <a:lnTo>
                  <a:pt x="2510651" y="6858000"/>
                </a:lnTo>
                <a:lnTo>
                  <a:pt x="842068" y="3434542"/>
                </a:lnTo>
                <a:lnTo>
                  <a:pt x="859272" y="3398698"/>
                </a:lnTo>
                <a:close/>
                <a:moveTo>
                  <a:pt x="2066862" y="0"/>
                </a:moveTo>
                <a:lnTo>
                  <a:pt x="2178634" y="0"/>
                </a:lnTo>
                <a:lnTo>
                  <a:pt x="513490" y="3434542"/>
                </a:lnTo>
                <a:lnTo>
                  <a:pt x="2182763" y="6858000"/>
                </a:lnTo>
                <a:lnTo>
                  <a:pt x="2070961" y="6858000"/>
                </a:lnTo>
                <a:lnTo>
                  <a:pt x="402378" y="3434542"/>
                </a:lnTo>
                <a:lnTo>
                  <a:pt x="412414" y="3413036"/>
                </a:lnTo>
                <a:close/>
                <a:moveTo>
                  <a:pt x="1664655" y="0"/>
                </a:moveTo>
                <a:lnTo>
                  <a:pt x="1736238" y="0"/>
                </a:lnTo>
                <a:lnTo>
                  <a:pt x="71684" y="3434542"/>
                </a:lnTo>
                <a:lnTo>
                  <a:pt x="1740267" y="6858000"/>
                </a:lnTo>
                <a:lnTo>
                  <a:pt x="1668582" y="6858000"/>
                </a:lnTo>
                <a:lnTo>
                  <a:pt x="0" y="3434545"/>
                </a:lnTo>
                <a:lnTo>
                  <a:pt x="0" y="3434539"/>
                </a:lnTo>
                <a:lnTo>
                  <a:pt x="7167" y="3420921"/>
                </a:lnTo>
                <a:close/>
              </a:path>
            </a:pathLst>
          </a:custGeom>
          <a:solidFill>
            <a:schemeClr val="tx2"/>
          </a:solidFill>
          <a:effectLst/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>
                <a:solidFill>
                  <a:schemeClr val="bg1"/>
                </a:solidFill>
              </a:defRPr>
            </a:lvl1pPr>
          </a:lstStyle>
          <a:p>
            <a:pPr marL="146300" lvl="0" indent="-146300" algn="ctr"/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2686571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6.25E-7 4.44444E-6 L 6.25E-7 0.05162 " pathEditMode="relative" rAng="0" ptsTypes="AA">
                                      <p:cBhvr>
                                        <p:cTn id="15" dur="750" spd="-100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69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  <p:bldP spid="3" grpId="1" build="p"/>
      <p:bldP spid="4" grpId="0"/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 - Inse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35708" y="6375123"/>
            <a:ext cx="2328672" cy="20512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l">
              <a:defRPr lang="en-US" sz="1333" b="0" smtClean="0">
                <a:solidFill>
                  <a:srgbClr val="768A9A"/>
                </a:solidFill>
                <a:latin typeface="Arial"/>
              </a:defRPr>
            </a:lvl1pPr>
          </a:lstStyle>
          <a:p>
            <a:pPr defTabSz="914377"/>
            <a:fld id="{D7FF0E5D-A764-4BBF-99F6-78FEA8BD72A8}" type="datetime1">
              <a:rPr lang="en-US" smtClean="0"/>
              <a:t>2/17/2023</a:t>
            </a:fld>
            <a:endParaRPr lang="en-US" dirty="0"/>
          </a:p>
        </p:txBody>
      </p:sp>
      <p:grpSp>
        <p:nvGrpSpPr>
          <p:cNvPr id="29" name="Group 5">
            <a:extLst>
              <a:ext uri="{FF2B5EF4-FFF2-40B4-BE49-F238E27FC236}">
                <a16:creationId xmlns:a16="http://schemas.microsoft.com/office/drawing/2014/main" id="{2D03F7D5-618F-487D-B627-719B0723202C}"/>
              </a:ext>
            </a:extLst>
          </p:cNvPr>
          <p:cNvGrpSpPr/>
          <p:nvPr/>
        </p:nvGrpSpPr>
        <p:grpSpPr>
          <a:xfrm>
            <a:off x="756518" y="2972348"/>
            <a:ext cx="3468118" cy="873139"/>
            <a:chOff x="1416050" y="1741488"/>
            <a:chExt cx="6305550" cy="1587500"/>
          </a:xfrm>
          <a:solidFill>
            <a:schemeClr val="accent1"/>
          </a:solidFill>
        </p:grpSpPr>
        <p:grpSp>
          <p:nvGrpSpPr>
            <p:cNvPr id="31" name="Group 7">
              <a:extLst>
                <a:ext uri="{FF2B5EF4-FFF2-40B4-BE49-F238E27FC236}">
                  <a16:creationId xmlns:a16="http://schemas.microsoft.com/office/drawing/2014/main" id="{4EAB3890-CCAB-4477-88EE-BD41FB5E2CF0}"/>
                </a:ext>
              </a:extLst>
            </p:cNvPr>
            <p:cNvGrpSpPr/>
            <p:nvPr/>
          </p:nvGrpSpPr>
          <p:grpSpPr>
            <a:xfrm>
              <a:off x="1416050" y="1741488"/>
              <a:ext cx="1881188" cy="1587500"/>
              <a:chOff x="1416050" y="1741488"/>
              <a:chExt cx="1881188" cy="1587500"/>
            </a:xfrm>
            <a:grpFill/>
          </p:grpSpPr>
          <p:sp>
            <p:nvSpPr>
              <p:cNvPr id="33" name="Freeform 5">
                <a:extLst>
                  <a:ext uri="{FF2B5EF4-FFF2-40B4-BE49-F238E27FC236}">
                    <a16:creationId xmlns:a16="http://schemas.microsoft.com/office/drawing/2014/main" id="{9147E09F-7ED5-4032-B112-48D4840B6D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9613" y="1741488"/>
                <a:ext cx="290513" cy="1587500"/>
              </a:xfrm>
              <a:custGeom>
                <a:avLst/>
                <a:gdLst>
                  <a:gd name="T0" fmla="*/ 84 w 183"/>
                  <a:gd name="T1" fmla="*/ 500 h 1000"/>
                  <a:gd name="T2" fmla="*/ 183 w 183"/>
                  <a:gd name="T3" fmla="*/ 0 h 1000"/>
                  <a:gd name="T4" fmla="*/ 100 w 183"/>
                  <a:gd name="T5" fmla="*/ 0 h 1000"/>
                  <a:gd name="T6" fmla="*/ 0 w 183"/>
                  <a:gd name="T7" fmla="*/ 500 h 1000"/>
                  <a:gd name="T8" fmla="*/ 100 w 183"/>
                  <a:gd name="T9" fmla="*/ 1000 h 1000"/>
                  <a:gd name="T10" fmla="*/ 183 w 183"/>
                  <a:gd name="T11" fmla="*/ 1000 h 1000"/>
                  <a:gd name="T12" fmla="*/ 84 w 183"/>
                  <a:gd name="T13" fmla="*/ 500 h 1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3" h="1000">
                    <a:moveTo>
                      <a:pt x="84" y="500"/>
                    </a:moveTo>
                    <a:lnTo>
                      <a:pt x="183" y="0"/>
                    </a:lnTo>
                    <a:lnTo>
                      <a:pt x="100" y="0"/>
                    </a:lnTo>
                    <a:lnTo>
                      <a:pt x="0" y="500"/>
                    </a:lnTo>
                    <a:lnTo>
                      <a:pt x="100" y="1000"/>
                    </a:lnTo>
                    <a:lnTo>
                      <a:pt x="183" y="1000"/>
                    </a:lnTo>
                    <a:lnTo>
                      <a:pt x="84" y="5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6">
                <a:extLst>
                  <a:ext uri="{FF2B5EF4-FFF2-40B4-BE49-F238E27FC236}">
                    <a16:creationId xmlns:a16="http://schemas.microsoft.com/office/drawing/2014/main" id="{698FDB01-CFCF-4521-A102-7518D76E1D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6050" y="1741488"/>
                <a:ext cx="566738" cy="1587500"/>
              </a:xfrm>
              <a:custGeom>
                <a:avLst/>
                <a:gdLst>
                  <a:gd name="T0" fmla="*/ 91 w 357"/>
                  <a:gd name="T1" fmla="*/ 500 h 1000"/>
                  <a:gd name="T2" fmla="*/ 357 w 357"/>
                  <a:gd name="T3" fmla="*/ 0 h 1000"/>
                  <a:gd name="T4" fmla="*/ 266 w 357"/>
                  <a:gd name="T5" fmla="*/ 0 h 1000"/>
                  <a:gd name="T6" fmla="*/ 0 w 357"/>
                  <a:gd name="T7" fmla="*/ 500 h 1000"/>
                  <a:gd name="T8" fmla="*/ 266 w 357"/>
                  <a:gd name="T9" fmla="*/ 1000 h 1000"/>
                  <a:gd name="T10" fmla="*/ 357 w 357"/>
                  <a:gd name="T11" fmla="*/ 1000 h 1000"/>
                  <a:gd name="T12" fmla="*/ 91 w 357"/>
                  <a:gd name="T13" fmla="*/ 500 h 1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7" h="1000">
                    <a:moveTo>
                      <a:pt x="91" y="500"/>
                    </a:moveTo>
                    <a:lnTo>
                      <a:pt x="357" y="0"/>
                    </a:lnTo>
                    <a:lnTo>
                      <a:pt x="266" y="0"/>
                    </a:lnTo>
                    <a:lnTo>
                      <a:pt x="0" y="500"/>
                    </a:lnTo>
                    <a:lnTo>
                      <a:pt x="266" y="1000"/>
                    </a:lnTo>
                    <a:lnTo>
                      <a:pt x="357" y="1000"/>
                    </a:lnTo>
                    <a:lnTo>
                      <a:pt x="91" y="5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7">
                <a:extLst>
                  <a:ext uri="{FF2B5EF4-FFF2-40B4-BE49-F238E27FC236}">
                    <a16:creationId xmlns:a16="http://schemas.microsoft.com/office/drawing/2014/main" id="{67C80513-6467-497F-A213-1CB33800AF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8400" y="1741488"/>
                <a:ext cx="293688" cy="1587500"/>
              </a:xfrm>
              <a:custGeom>
                <a:avLst/>
                <a:gdLst>
                  <a:gd name="T0" fmla="*/ 185 w 185"/>
                  <a:gd name="T1" fmla="*/ 500 h 1000"/>
                  <a:gd name="T2" fmla="*/ 86 w 185"/>
                  <a:gd name="T3" fmla="*/ 0 h 1000"/>
                  <a:gd name="T4" fmla="*/ 0 w 185"/>
                  <a:gd name="T5" fmla="*/ 0 h 1000"/>
                  <a:gd name="T6" fmla="*/ 102 w 185"/>
                  <a:gd name="T7" fmla="*/ 500 h 1000"/>
                  <a:gd name="T8" fmla="*/ 2 w 185"/>
                  <a:gd name="T9" fmla="*/ 1000 h 1000"/>
                  <a:gd name="T10" fmla="*/ 86 w 185"/>
                  <a:gd name="T11" fmla="*/ 1000 h 1000"/>
                  <a:gd name="T12" fmla="*/ 185 w 185"/>
                  <a:gd name="T13" fmla="*/ 500 h 1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5" h="1000">
                    <a:moveTo>
                      <a:pt x="185" y="500"/>
                    </a:moveTo>
                    <a:lnTo>
                      <a:pt x="86" y="0"/>
                    </a:lnTo>
                    <a:lnTo>
                      <a:pt x="0" y="0"/>
                    </a:lnTo>
                    <a:lnTo>
                      <a:pt x="102" y="500"/>
                    </a:lnTo>
                    <a:lnTo>
                      <a:pt x="2" y="1000"/>
                    </a:lnTo>
                    <a:lnTo>
                      <a:pt x="86" y="1000"/>
                    </a:lnTo>
                    <a:lnTo>
                      <a:pt x="185" y="5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8">
                <a:extLst>
                  <a:ext uri="{FF2B5EF4-FFF2-40B4-BE49-F238E27FC236}">
                    <a16:creationId xmlns:a16="http://schemas.microsoft.com/office/drawing/2014/main" id="{0A27918D-A803-444E-BAA1-4617F02EE0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5738" y="1741488"/>
                <a:ext cx="571500" cy="1587500"/>
              </a:xfrm>
              <a:custGeom>
                <a:avLst/>
                <a:gdLst>
                  <a:gd name="T0" fmla="*/ 360 w 360"/>
                  <a:gd name="T1" fmla="*/ 500 h 1000"/>
                  <a:gd name="T2" fmla="*/ 94 w 360"/>
                  <a:gd name="T3" fmla="*/ 0 h 1000"/>
                  <a:gd name="T4" fmla="*/ 0 w 360"/>
                  <a:gd name="T5" fmla="*/ 0 h 1000"/>
                  <a:gd name="T6" fmla="*/ 268 w 360"/>
                  <a:gd name="T7" fmla="*/ 500 h 1000"/>
                  <a:gd name="T8" fmla="*/ 2 w 360"/>
                  <a:gd name="T9" fmla="*/ 1000 h 1000"/>
                  <a:gd name="T10" fmla="*/ 94 w 360"/>
                  <a:gd name="T11" fmla="*/ 1000 h 1000"/>
                  <a:gd name="T12" fmla="*/ 360 w 360"/>
                  <a:gd name="T13" fmla="*/ 500 h 1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0" h="1000">
                    <a:moveTo>
                      <a:pt x="360" y="500"/>
                    </a:moveTo>
                    <a:lnTo>
                      <a:pt x="94" y="0"/>
                    </a:lnTo>
                    <a:lnTo>
                      <a:pt x="0" y="0"/>
                    </a:lnTo>
                    <a:lnTo>
                      <a:pt x="268" y="500"/>
                    </a:lnTo>
                    <a:lnTo>
                      <a:pt x="2" y="1000"/>
                    </a:lnTo>
                    <a:lnTo>
                      <a:pt x="94" y="1000"/>
                    </a:lnTo>
                    <a:lnTo>
                      <a:pt x="360" y="5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A23781BC-AC6A-4A9C-B4CC-32AF02A31B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9825" y="2171701"/>
              <a:ext cx="4041775" cy="769938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" name="Espace réservé pour une image  29">
            <a:extLst>
              <a:ext uri="{FF2B5EF4-FFF2-40B4-BE49-F238E27FC236}">
                <a16:creationId xmlns:a16="http://schemas.microsoft.com/office/drawing/2014/main" id="{F3E2961D-D21F-4DCB-87EA-7A31F001918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103788" y="0"/>
            <a:ext cx="7088212" cy="6858000"/>
          </a:xfrm>
          <a:custGeom>
            <a:avLst/>
            <a:gdLst>
              <a:gd name="connsiteX0" fmla="*/ 7088212 w 7088212"/>
              <a:gd name="connsiteY0" fmla="*/ 2316551 h 6858000"/>
              <a:gd name="connsiteX1" fmla="*/ 7088212 w 7088212"/>
              <a:gd name="connsiteY1" fmla="*/ 3270182 h 6858000"/>
              <a:gd name="connsiteX2" fmla="*/ 7088212 w 7088212"/>
              <a:gd name="connsiteY2" fmla="*/ 3597980 h 6858000"/>
              <a:gd name="connsiteX3" fmla="*/ 7088212 w 7088212"/>
              <a:gd name="connsiteY3" fmla="*/ 4546633 h 6858000"/>
              <a:gd name="connsiteX4" fmla="*/ 6546184 w 7088212"/>
              <a:gd name="connsiteY4" fmla="*/ 3434544 h 6858000"/>
              <a:gd name="connsiteX5" fmla="*/ 7088212 w 7088212"/>
              <a:gd name="connsiteY5" fmla="*/ 1297052 h 6858000"/>
              <a:gd name="connsiteX6" fmla="*/ 7088212 w 7088212"/>
              <a:gd name="connsiteY6" fmla="*/ 2251081 h 6858000"/>
              <a:gd name="connsiteX7" fmla="*/ 6514644 w 7088212"/>
              <a:gd name="connsiteY7" fmla="*/ 3434545 h 6858000"/>
              <a:gd name="connsiteX8" fmla="*/ 7088212 w 7088212"/>
              <a:gd name="connsiteY8" fmla="*/ 4611344 h 6858000"/>
              <a:gd name="connsiteX9" fmla="*/ 7088212 w 7088212"/>
              <a:gd name="connsiteY9" fmla="*/ 5559997 h 6858000"/>
              <a:gd name="connsiteX10" fmla="*/ 6052274 w 7088212"/>
              <a:gd name="connsiteY10" fmla="*/ 3434545 h 6858000"/>
              <a:gd name="connsiteX11" fmla="*/ 7088212 w 7088212"/>
              <a:gd name="connsiteY11" fmla="*/ 286451 h 6858000"/>
              <a:gd name="connsiteX12" fmla="*/ 7088212 w 7088212"/>
              <a:gd name="connsiteY12" fmla="*/ 1223092 h 6858000"/>
              <a:gd name="connsiteX13" fmla="*/ 6016431 w 7088212"/>
              <a:gd name="connsiteY13" fmla="*/ 3434543 h 6858000"/>
              <a:gd name="connsiteX14" fmla="*/ 7088212 w 7088212"/>
              <a:gd name="connsiteY14" fmla="*/ 5633535 h 6858000"/>
              <a:gd name="connsiteX15" fmla="*/ 7088212 w 7088212"/>
              <a:gd name="connsiteY15" fmla="*/ 6566009 h 6858000"/>
              <a:gd name="connsiteX16" fmla="*/ 5561946 w 7088212"/>
              <a:gd name="connsiteY16" fmla="*/ 3434543 h 6858000"/>
              <a:gd name="connsiteX17" fmla="*/ 6736761 w 7088212"/>
              <a:gd name="connsiteY17" fmla="*/ 1 h 6858000"/>
              <a:gd name="connsiteX18" fmla="*/ 7088212 w 7088212"/>
              <a:gd name="connsiteY18" fmla="*/ 1 h 6858000"/>
              <a:gd name="connsiteX19" fmla="*/ 7088212 w 7088212"/>
              <a:gd name="connsiteY19" fmla="*/ 195109 h 6858000"/>
              <a:gd name="connsiteX20" fmla="*/ 5518218 w 7088212"/>
              <a:gd name="connsiteY20" fmla="*/ 3434542 h 6858000"/>
              <a:gd name="connsiteX21" fmla="*/ 7088212 w 7088212"/>
              <a:gd name="connsiteY21" fmla="*/ 6655729 h 6858000"/>
              <a:gd name="connsiteX22" fmla="*/ 7088212 w 7088212"/>
              <a:gd name="connsiteY22" fmla="*/ 6858000 h 6858000"/>
              <a:gd name="connsiteX23" fmla="*/ 6740201 w 7088212"/>
              <a:gd name="connsiteY23" fmla="*/ 6858000 h 6858000"/>
              <a:gd name="connsiteX24" fmla="*/ 5071618 w 7088212"/>
              <a:gd name="connsiteY24" fmla="*/ 3434542 h 6858000"/>
              <a:gd name="connsiteX25" fmla="*/ 6238549 w 7088212"/>
              <a:gd name="connsiteY25" fmla="*/ 1 h 6858000"/>
              <a:gd name="connsiteX26" fmla="*/ 6692444 w 7088212"/>
              <a:gd name="connsiteY26" fmla="*/ 1 h 6858000"/>
              <a:gd name="connsiteX27" fmla="*/ 5027891 w 7088212"/>
              <a:gd name="connsiteY27" fmla="*/ 3434542 h 6858000"/>
              <a:gd name="connsiteX28" fmla="*/ 6696474 w 7088212"/>
              <a:gd name="connsiteY28" fmla="*/ 6858000 h 6858000"/>
              <a:gd name="connsiteX29" fmla="*/ 6241989 w 7088212"/>
              <a:gd name="connsiteY29" fmla="*/ 6858000 h 6858000"/>
              <a:gd name="connsiteX30" fmla="*/ 4573406 w 7088212"/>
              <a:gd name="connsiteY30" fmla="*/ 3434542 h 6858000"/>
              <a:gd name="connsiteX31" fmla="*/ 5748221 w 7088212"/>
              <a:gd name="connsiteY31" fmla="*/ 1 h 6858000"/>
              <a:gd name="connsiteX32" fmla="*/ 6194231 w 7088212"/>
              <a:gd name="connsiteY32" fmla="*/ 1 h 6858000"/>
              <a:gd name="connsiteX33" fmla="*/ 4529678 w 7088212"/>
              <a:gd name="connsiteY33" fmla="*/ 3434542 h 6858000"/>
              <a:gd name="connsiteX34" fmla="*/ 6198261 w 7088212"/>
              <a:gd name="connsiteY34" fmla="*/ 6858000 h 6858000"/>
              <a:gd name="connsiteX35" fmla="*/ 5751661 w 7088212"/>
              <a:gd name="connsiteY35" fmla="*/ 6858000 h 6858000"/>
              <a:gd name="connsiteX36" fmla="*/ 4083078 w 7088212"/>
              <a:gd name="connsiteY36" fmla="*/ 3434542 h 6858000"/>
              <a:gd name="connsiteX37" fmla="*/ 5257893 w 7088212"/>
              <a:gd name="connsiteY37" fmla="*/ 1 h 6858000"/>
              <a:gd name="connsiteX38" fmla="*/ 5696019 w 7088212"/>
              <a:gd name="connsiteY38" fmla="*/ 1 h 6858000"/>
              <a:gd name="connsiteX39" fmla="*/ 4031465 w 7088212"/>
              <a:gd name="connsiteY39" fmla="*/ 3434542 h 6858000"/>
              <a:gd name="connsiteX40" fmla="*/ 5700048 w 7088212"/>
              <a:gd name="connsiteY40" fmla="*/ 6858000 h 6858000"/>
              <a:gd name="connsiteX41" fmla="*/ 5261334 w 7088212"/>
              <a:gd name="connsiteY41" fmla="*/ 6858000 h 6858000"/>
              <a:gd name="connsiteX42" fmla="*/ 3592751 w 7088212"/>
              <a:gd name="connsiteY42" fmla="*/ 3434542 h 6858000"/>
              <a:gd name="connsiteX43" fmla="*/ 4787634 w 7088212"/>
              <a:gd name="connsiteY43" fmla="*/ 1 h 6858000"/>
              <a:gd name="connsiteX44" fmla="*/ 5178319 w 7088212"/>
              <a:gd name="connsiteY44" fmla="*/ 1 h 6858000"/>
              <a:gd name="connsiteX45" fmla="*/ 3513176 w 7088212"/>
              <a:gd name="connsiteY45" fmla="*/ 3434542 h 6858000"/>
              <a:gd name="connsiteX46" fmla="*/ 5182449 w 7088212"/>
              <a:gd name="connsiteY46" fmla="*/ 6858000 h 6858000"/>
              <a:gd name="connsiteX47" fmla="*/ 4791074 w 7088212"/>
              <a:gd name="connsiteY47" fmla="*/ 6858000 h 6858000"/>
              <a:gd name="connsiteX48" fmla="*/ 3122491 w 7088212"/>
              <a:gd name="connsiteY48" fmla="*/ 3434542 h 6858000"/>
              <a:gd name="connsiteX49" fmla="*/ 4309493 w 7088212"/>
              <a:gd name="connsiteY49" fmla="*/ 1 h 6858000"/>
              <a:gd name="connsiteX50" fmla="*/ 4668049 w 7088212"/>
              <a:gd name="connsiteY50" fmla="*/ 1 h 6858000"/>
              <a:gd name="connsiteX51" fmla="*/ 3003495 w 7088212"/>
              <a:gd name="connsiteY51" fmla="*/ 3434542 h 6858000"/>
              <a:gd name="connsiteX52" fmla="*/ 4672078 w 7088212"/>
              <a:gd name="connsiteY52" fmla="*/ 6858000 h 6858000"/>
              <a:gd name="connsiteX53" fmla="*/ 4312934 w 7088212"/>
              <a:gd name="connsiteY53" fmla="*/ 6858000 h 6858000"/>
              <a:gd name="connsiteX54" fmla="*/ 2644351 w 7088212"/>
              <a:gd name="connsiteY54" fmla="*/ 3434542 h 6858000"/>
              <a:gd name="connsiteX55" fmla="*/ 3827179 w 7088212"/>
              <a:gd name="connsiteY55" fmla="*/ 1 h 6858000"/>
              <a:gd name="connsiteX56" fmla="*/ 4161821 w 7088212"/>
              <a:gd name="connsiteY56" fmla="*/ 1 h 6858000"/>
              <a:gd name="connsiteX57" fmla="*/ 2496679 w 7088212"/>
              <a:gd name="connsiteY57" fmla="*/ 3434542 h 6858000"/>
              <a:gd name="connsiteX58" fmla="*/ 4165951 w 7088212"/>
              <a:gd name="connsiteY58" fmla="*/ 6858000 h 6858000"/>
              <a:gd name="connsiteX59" fmla="*/ 3831208 w 7088212"/>
              <a:gd name="connsiteY59" fmla="*/ 6858000 h 6858000"/>
              <a:gd name="connsiteX60" fmla="*/ 2162625 w 7088212"/>
              <a:gd name="connsiteY60" fmla="*/ 3434542 h 6858000"/>
              <a:gd name="connsiteX61" fmla="*/ 3396278 w 7088212"/>
              <a:gd name="connsiteY61" fmla="*/ 1 h 6858000"/>
              <a:gd name="connsiteX62" fmla="*/ 3658775 w 7088212"/>
              <a:gd name="connsiteY62" fmla="*/ 1 h 6858000"/>
              <a:gd name="connsiteX63" fmla="*/ 1994222 w 7088212"/>
              <a:gd name="connsiteY63" fmla="*/ 3434542 h 6858000"/>
              <a:gd name="connsiteX64" fmla="*/ 3662804 w 7088212"/>
              <a:gd name="connsiteY64" fmla="*/ 6858000 h 6858000"/>
              <a:gd name="connsiteX65" fmla="*/ 3399719 w 7088212"/>
              <a:gd name="connsiteY65" fmla="*/ 6858000 h 6858000"/>
              <a:gd name="connsiteX66" fmla="*/ 1731136 w 7088212"/>
              <a:gd name="connsiteY66" fmla="*/ 3434542 h 6858000"/>
              <a:gd name="connsiteX67" fmla="*/ 2965904 w 7088212"/>
              <a:gd name="connsiteY67" fmla="*/ 0 h 6858000"/>
              <a:gd name="connsiteX68" fmla="*/ 3196732 w 7088212"/>
              <a:gd name="connsiteY68" fmla="*/ 0 h 6858000"/>
              <a:gd name="connsiteX69" fmla="*/ 1531590 w 7088212"/>
              <a:gd name="connsiteY69" fmla="*/ 3434542 h 6858000"/>
              <a:gd name="connsiteX70" fmla="*/ 3200863 w 7088212"/>
              <a:gd name="connsiteY70" fmla="*/ 6858000 h 6858000"/>
              <a:gd name="connsiteX71" fmla="*/ 2969345 w 7088212"/>
              <a:gd name="connsiteY71" fmla="*/ 6858000 h 6858000"/>
              <a:gd name="connsiteX72" fmla="*/ 1300762 w 7088212"/>
              <a:gd name="connsiteY72" fmla="*/ 3434542 h 6858000"/>
              <a:gd name="connsiteX73" fmla="*/ 2506592 w 7088212"/>
              <a:gd name="connsiteY73" fmla="*/ 0 h 6858000"/>
              <a:gd name="connsiteX74" fmla="*/ 2690136 w 7088212"/>
              <a:gd name="connsiteY74" fmla="*/ 0 h 6858000"/>
              <a:gd name="connsiteX75" fmla="*/ 1025582 w 7088212"/>
              <a:gd name="connsiteY75" fmla="*/ 3434542 h 6858000"/>
              <a:gd name="connsiteX76" fmla="*/ 2694165 w 7088212"/>
              <a:gd name="connsiteY76" fmla="*/ 6858000 h 6858000"/>
              <a:gd name="connsiteX77" fmla="*/ 2510651 w 7088212"/>
              <a:gd name="connsiteY77" fmla="*/ 6858000 h 6858000"/>
              <a:gd name="connsiteX78" fmla="*/ 842068 w 7088212"/>
              <a:gd name="connsiteY78" fmla="*/ 3434542 h 6858000"/>
              <a:gd name="connsiteX79" fmla="*/ 859272 w 7088212"/>
              <a:gd name="connsiteY79" fmla="*/ 3398698 h 6858000"/>
              <a:gd name="connsiteX80" fmla="*/ 2066862 w 7088212"/>
              <a:gd name="connsiteY80" fmla="*/ 0 h 6858000"/>
              <a:gd name="connsiteX81" fmla="*/ 2178634 w 7088212"/>
              <a:gd name="connsiteY81" fmla="*/ 0 h 6858000"/>
              <a:gd name="connsiteX82" fmla="*/ 513490 w 7088212"/>
              <a:gd name="connsiteY82" fmla="*/ 3434542 h 6858000"/>
              <a:gd name="connsiteX83" fmla="*/ 2182763 w 7088212"/>
              <a:gd name="connsiteY83" fmla="*/ 6858000 h 6858000"/>
              <a:gd name="connsiteX84" fmla="*/ 2070961 w 7088212"/>
              <a:gd name="connsiteY84" fmla="*/ 6858000 h 6858000"/>
              <a:gd name="connsiteX85" fmla="*/ 402378 w 7088212"/>
              <a:gd name="connsiteY85" fmla="*/ 3434542 h 6858000"/>
              <a:gd name="connsiteX86" fmla="*/ 412414 w 7088212"/>
              <a:gd name="connsiteY86" fmla="*/ 3413036 h 6858000"/>
              <a:gd name="connsiteX87" fmla="*/ 1664655 w 7088212"/>
              <a:gd name="connsiteY87" fmla="*/ 0 h 6858000"/>
              <a:gd name="connsiteX88" fmla="*/ 1736238 w 7088212"/>
              <a:gd name="connsiteY88" fmla="*/ 0 h 6858000"/>
              <a:gd name="connsiteX89" fmla="*/ 71684 w 7088212"/>
              <a:gd name="connsiteY89" fmla="*/ 3434542 h 6858000"/>
              <a:gd name="connsiteX90" fmla="*/ 1740267 w 7088212"/>
              <a:gd name="connsiteY90" fmla="*/ 6858000 h 6858000"/>
              <a:gd name="connsiteX91" fmla="*/ 1668582 w 7088212"/>
              <a:gd name="connsiteY91" fmla="*/ 6858000 h 6858000"/>
              <a:gd name="connsiteX92" fmla="*/ 0 w 7088212"/>
              <a:gd name="connsiteY92" fmla="*/ 3434545 h 6858000"/>
              <a:gd name="connsiteX93" fmla="*/ 0 w 7088212"/>
              <a:gd name="connsiteY93" fmla="*/ 3434539 h 6858000"/>
              <a:gd name="connsiteX94" fmla="*/ 7167 w 7088212"/>
              <a:gd name="connsiteY94" fmla="*/ 34209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7088212" h="6858000">
                <a:moveTo>
                  <a:pt x="7088212" y="2316551"/>
                </a:moveTo>
                <a:lnTo>
                  <a:pt x="7088212" y="3270182"/>
                </a:lnTo>
                <a:lnTo>
                  <a:pt x="7088212" y="3597980"/>
                </a:lnTo>
                <a:lnTo>
                  <a:pt x="7088212" y="4546633"/>
                </a:lnTo>
                <a:lnTo>
                  <a:pt x="6546184" y="3434544"/>
                </a:lnTo>
                <a:close/>
                <a:moveTo>
                  <a:pt x="7088212" y="1297052"/>
                </a:moveTo>
                <a:lnTo>
                  <a:pt x="7088212" y="2251081"/>
                </a:lnTo>
                <a:lnTo>
                  <a:pt x="6514644" y="3434545"/>
                </a:lnTo>
                <a:lnTo>
                  <a:pt x="7088212" y="4611344"/>
                </a:lnTo>
                <a:lnTo>
                  <a:pt x="7088212" y="5559997"/>
                </a:lnTo>
                <a:lnTo>
                  <a:pt x="6052274" y="3434545"/>
                </a:lnTo>
                <a:close/>
                <a:moveTo>
                  <a:pt x="7088212" y="286451"/>
                </a:moveTo>
                <a:lnTo>
                  <a:pt x="7088212" y="1223092"/>
                </a:lnTo>
                <a:lnTo>
                  <a:pt x="6016431" y="3434543"/>
                </a:lnTo>
                <a:lnTo>
                  <a:pt x="7088212" y="5633535"/>
                </a:lnTo>
                <a:lnTo>
                  <a:pt x="7088212" y="6566009"/>
                </a:lnTo>
                <a:lnTo>
                  <a:pt x="5561946" y="3434543"/>
                </a:lnTo>
                <a:close/>
                <a:moveTo>
                  <a:pt x="6736761" y="1"/>
                </a:moveTo>
                <a:lnTo>
                  <a:pt x="7088212" y="1"/>
                </a:lnTo>
                <a:lnTo>
                  <a:pt x="7088212" y="195109"/>
                </a:lnTo>
                <a:lnTo>
                  <a:pt x="5518218" y="3434542"/>
                </a:lnTo>
                <a:lnTo>
                  <a:pt x="7088212" y="6655729"/>
                </a:lnTo>
                <a:lnTo>
                  <a:pt x="7088212" y="6858000"/>
                </a:lnTo>
                <a:lnTo>
                  <a:pt x="6740201" y="6858000"/>
                </a:lnTo>
                <a:lnTo>
                  <a:pt x="5071618" y="3434542"/>
                </a:lnTo>
                <a:close/>
                <a:moveTo>
                  <a:pt x="6238549" y="1"/>
                </a:moveTo>
                <a:lnTo>
                  <a:pt x="6692444" y="1"/>
                </a:lnTo>
                <a:lnTo>
                  <a:pt x="5027891" y="3434542"/>
                </a:lnTo>
                <a:lnTo>
                  <a:pt x="6696474" y="6858000"/>
                </a:lnTo>
                <a:lnTo>
                  <a:pt x="6241989" y="6858000"/>
                </a:lnTo>
                <a:lnTo>
                  <a:pt x="4573406" y="3434542"/>
                </a:lnTo>
                <a:close/>
                <a:moveTo>
                  <a:pt x="5748221" y="1"/>
                </a:moveTo>
                <a:lnTo>
                  <a:pt x="6194231" y="1"/>
                </a:lnTo>
                <a:lnTo>
                  <a:pt x="4529678" y="3434542"/>
                </a:lnTo>
                <a:lnTo>
                  <a:pt x="6198261" y="6858000"/>
                </a:lnTo>
                <a:lnTo>
                  <a:pt x="5751661" y="6858000"/>
                </a:lnTo>
                <a:lnTo>
                  <a:pt x="4083078" y="3434542"/>
                </a:lnTo>
                <a:close/>
                <a:moveTo>
                  <a:pt x="5257893" y="1"/>
                </a:moveTo>
                <a:lnTo>
                  <a:pt x="5696019" y="1"/>
                </a:lnTo>
                <a:lnTo>
                  <a:pt x="4031465" y="3434542"/>
                </a:lnTo>
                <a:lnTo>
                  <a:pt x="5700048" y="6858000"/>
                </a:lnTo>
                <a:lnTo>
                  <a:pt x="5261334" y="6858000"/>
                </a:lnTo>
                <a:lnTo>
                  <a:pt x="3592751" y="3434542"/>
                </a:lnTo>
                <a:close/>
                <a:moveTo>
                  <a:pt x="4787634" y="1"/>
                </a:moveTo>
                <a:lnTo>
                  <a:pt x="5178319" y="1"/>
                </a:lnTo>
                <a:lnTo>
                  <a:pt x="3513176" y="3434542"/>
                </a:lnTo>
                <a:lnTo>
                  <a:pt x="5182449" y="6858000"/>
                </a:lnTo>
                <a:lnTo>
                  <a:pt x="4791074" y="6858000"/>
                </a:lnTo>
                <a:lnTo>
                  <a:pt x="3122491" y="3434542"/>
                </a:lnTo>
                <a:close/>
                <a:moveTo>
                  <a:pt x="4309493" y="1"/>
                </a:moveTo>
                <a:lnTo>
                  <a:pt x="4668049" y="1"/>
                </a:lnTo>
                <a:lnTo>
                  <a:pt x="3003495" y="3434542"/>
                </a:lnTo>
                <a:lnTo>
                  <a:pt x="4672078" y="6858000"/>
                </a:lnTo>
                <a:lnTo>
                  <a:pt x="4312934" y="6858000"/>
                </a:lnTo>
                <a:lnTo>
                  <a:pt x="2644351" y="3434542"/>
                </a:lnTo>
                <a:close/>
                <a:moveTo>
                  <a:pt x="3827179" y="1"/>
                </a:moveTo>
                <a:lnTo>
                  <a:pt x="4161821" y="1"/>
                </a:lnTo>
                <a:lnTo>
                  <a:pt x="2496679" y="3434542"/>
                </a:lnTo>
                <a:lnTo>
                  <a:pt x="4165951" y="6858000"/>
                </a:lnTo>
                <a:lnTo>
                  <a:pt x="3831208" y="6858000"/>
                </a:lnTo>
                <a:lnTo>
                  <a:pt x="2162625" y="3434542"/>
                </a:lnTo>
                <a:close/>
                <a:moveTo>
                  <a:pt x="3396278" y="1"/>
                </a:moveTo>
                <a:lnTo>
                  <a:pt x="3658775" y="1"/>
                </a:lnTo>
                <a:lnTo>
                  <a:pt x="1994222" y="3434542"/>
                </a:lnTo>
                <a:lnTo>
                  <a:pt x="3662804" y="6858000"/>
                </a:lnTo>
                <a:lnTo>
                  <a:pt x="3399719" y="6858000"/>
                </a:lnTo>
                <a:lnTo>
                  <a:pt x="1731136" y="3434542"/>
                </a:lnTo>
                <a:close/>
                <a:moveTo>
                  <a:pt x="2965904" y="0"/>
                </a:moveTo>
                <a:lnTo>
                  <a:pt x="3196732" y="0"/>
                </a:lnTo>
                <a:lnTo>
                  <a:pt x="1531590" y="3434542"/>
                </a:lnTo>
                <a:lnTo>
                  <a:pt x="3200863" y="6858000"/>
                </a:lnTo>
                <a:lnTo>
                  <a:pt x="2969345" y="6858000"/>
                </a:lnTo>
                <a:lnTo>
                  <a:pt x="1300762" y="3434542"/>
                </a:lnTo>
                <a:close/>
                <a:moveTo>
                  <a:pt x="2506592" y="0"/>
                </a:moveTo>
                <a:lnTo>
                  <a:pt x="2690136" y="0"/>
                </a:lnTo>
                <a:lnTo>
                  <a:pt x="1025582" y="3434542"/>
                </a:lnTo>
                <a:lnTo>
                  <a:pt x="2694165" y="6858000"/>
                </a:lnTo>
                <a:lnTo>
                  <a:pt x="2510651" y="6858000"/>
                </a:lnTo>
                <a:lnTo>
                  <a:pt x="842068" y="3434542"/>
                </a:lnTo>
                <a:lnTo>
                  <a:pt x="859272" y="3398698"/>
                </a:lnTo>
                <a:close/>
                <a:moveTo>
                  <a:pt x="2066862" y="0"/>
                </a:moveTo>
                <a:lnTo>
                  <a:pt x="2178634" y="0"/>
                </a:lnTo>
                <a:lnTo>
                  <a:pt x="513490" y="3434542"/>
                </a:lnTo>
                <a:lnTo>
                  <a:pt x="2182763" y="6858000"/>
                </a:lnTo>
                <a:lnTo>
                  <a:pt x="2070961" y="6858000"/>
                </a:lnTo>
                <a:lnTo>
                  <a:pt x="402378" y="3434542"/>
                </a:lnTo>
                <a:lnTo>
                  <a:pt x="412414" y="3413036"/>
                </a:lnTo>
                <a:close/>
                <a:moveTo>
                  <a:pt x="1664655" y="0"/>
                </a:moveTo>
                <a:lnTo>
                  <a:pt x="1736238" y="0"/>
                </a:lnTo>
                <a:lnTo>
                  <a:pt x="71684" y="3434542"/>
                </a:lnTo>
                <a:lnTo>
                  <a:pt x="1740267" y="6858000"/>
                </a:lnTo>
                <a:lnTo>
                  <a:pt x="1668582" y="6858000"/>
                </a:lnTo>
                <a:lnTo>
                  <a:pt x="0" y="3434545"/>
                </a:lnTo>
                <a:lnTo>
                  <a:pt x="0" y="3434539"/>
                </a:lnTo>
                <a:lnTo>
                  <a:pt x="7167" y="3420921"/>
                </a:lnTo>
                <a:close/>
              </a:path>
            </a:pathLst>
          </a:custGeom>
          <a:solidFill>
            <a:schemeClr val="tx2"/>
          </a:solidFill>
          <a:effectLst/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>
                <a:solidFill>
                  <a:schemeClr val="bg1"/>
                </a:solidFill>
              </a:defRPr>
            </a:lvl1pPr>
          </a:lstStyle>
          <a:p>
            <a:pPr marL="146300" lvl="0" indent="-146300" algn="ctr"/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76740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ED32E2FD-A937-4619-8501-FC4F3A8E0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138" y="1342550"/>
            <a:ext cx="3416400" cy="1977905"/>
          </a:xfrm>
          <a:prstGeom prst="rect">
            <a:avLst/>
          </a:prstGeom>
          <a:noFill/>
          <a:effectLst/>
        </p:spPr>
        <p:txBody>
          <a:bodyPr vert="horz" lIns="0" tIns="198000" rIns="0" bIns="0">
            <a:noAutofit/>
          </a:bodyPr>
          <a:lstStyle>
            <a:lvl1pPr marL="180000" indent="-180000">
              <a:spcBef>
                <a:spcPts val="32"/>
              </a:spcBef>
              <a:buSzPct val="100000"/>
              <a:buFontTx/>
              <a:buBlip>
                <a:blip r:embed="rId2"/>
              </a:buBlip>
              <a:defRPr sz="2000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spcBef>
                <a:spcPts val="400"/>
              </a:spcBef>
              <a:buFont typeface="Arial"/>
              <a:buNone/>
              <a:defRPr lang="en-US" sz="1867" b="1" kern="12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80000" indent="0">
              <a:spcBef>
                <a:spcPts val="400"/>
              </a:spcBef>
              <a:buNone/>
              <a:def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en-US" noProof="0" dirty="0"/>
              <a:t>#number</a:t>
            </a:r>
          </a:p>
          <a:p>
            <a:pPr lvl="1"/>
            <a:r>
              <a:rPr lang="en-US" noProof="0" dirty="0"/>
              <a:t>Title </a:t>
            </a:r>
          </a:p>
          <a:p>
            <a:pPr lvl="2"/>
            <a:r>
              <a:rPr lang="en-US" noProof="0" dirty="0"/>
              <a:t>Subtitle</a:t>
            </a:r>
          </a:p>
        </p:txBody>
      </p:sp>
      <p:sp>
        <p:nvSpPr>
          <p:cNvPr id="29" name="Titre 28">
            <a:extLst>
              <a:ext uri="{FF2B5EF4-FFF2-40B4-BE49-F238E27FC236}">
                <a16:creationId xmlns:a16="http://schemas.microsoft.com/office/drawing/2014/main" id="{DE8B432B-C054-482F-82FD-279A5028F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46" name="Text Placeholder 31">
            <a:extLst>
              <a:ext uri="{FF2B5EF4-FFF2-40B4-BE49-F238E27FC236}">
                <a16:creationId xmlns:a16="http://schemas.microsoft.com/office/drawing/2014/main" id="{0E0E3288-C923-4B4A-BC74-59615D99C9A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88978" y="1342550"/>
            <a:ext cx="3416400" cy="1977905"/>
          </a:xfrm>
          <a:prstGeom prst="rect">
            <a:avLst/>
          </a:prstGeom>
          <a:noFill/>
          <a:effectLst/>
        </p:spPr>
        <p:txBody>
          <a:bodyPr vert="horz" lIns="0" tIns="198000" rIns="0" bIns="0">
            <a:noAutofit/>
          </a:bodyPr>
          <a:lstStyle>
            <a:lvl1pPr marL="180000" indent="-180000">
              <a:spcBef>
                <a:spcPts val="32"/>
              </a:spcBef>
              <a:buSzPct val="100000"/>
              <a:buFontTx/>
              <a:buBlip>
                <a:blip r:embed="rId2"/>
              </a:buBlip>
              <a:defRPr sz="2000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spcBef>
                <a:spcPts val="400"/>
              </a:spcBef>
              <a:buFont typeface="Arial"/>
              <a:buNone/>
              <a:defRPr lang="en-US" sz="1867" b="1" kern="12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80000" indent="0">
              <a:spcBef>
                <a:spcPts val="400"/>
              </a:spcBef>
              <a:buNone/>
              <a:def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en-US" noProof="0" dirty="0"/>
              <a:t>#number</a:t>
            </a:r>
          </a:p>
          <a:p>
            <a:pPr lvl="1"/>
            <a:r>
              <a:rPr lang="en-US" noProof="0" dirty="0"/>
              <a:t>Title </a:t>
            </a:r>
          </a:p>
          <a:p>
            <a:pPr lvl="2"/>
            <a:r>
              <a:rPr lang="en-US" noProof="0" dirty="0"/>
              <a:t>Subtitle</a:t>
            </a:r>
          </a:p>
        </p:txBody>
      </p:sp>
      <p:sp>
        <p:nvSpPr>
          <p:cNvPr id="48" name="Text Placeholder 31">
            <a:extLst>
              <a:ext uri="{FF2B5EF4-FFF2-40B4-BE49-F238E27FC236}">
                <a16:creationId xmlns:a16="http://schemas.microsoft.com/office/drawing/2014/main" id="{BA860B23-5CEB-46DE-8DBB-487847751CD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263558" y="1342550"/>
            <a:ext cx="3416400" cy="1977905"/>
          </a:xfrm>
          <a:prstGeom prst="rect">
            <a:avLst/>
          </a:prstGeom>
          <a:noFill/>
          <a:effectLst/>
        </p:spPr>
        <p:txBody>
          <a:bodyPr vert="horz" lIns="0" tIns="198000" rIns="0" bIns="0">
            <a:noAutofit/>
          </a:bodyPr>
          <a:lstStyle>
            <a:lvl1pPr marL="180000" indent="-180000">
              <a:spcBef>
                <a:spcPts val="32"/>
              </a:spcBef>
              <a:buSzPct val="100000"/>
              <a:buFontTx/>
              <a:buBlip>
                <a:blip r:embed="rId2"/>
              </a:buBlip>
              <a:defRPr sz="2000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spcBef>
                <a:spcPts val="400"/>
              </a:spcBef>
              <a:buFont typeface="Arial"/>
              <a:buNone/>
              <a:defRPr lang="en-US" sz="1867" b="1" kern="12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80000" indent="0">
              <a:spcBef>
                <a:spcPts val="400"/>
              </a:spcBef>
              <a:buNone/>
              <a:def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en-US" noProof="0" dirty="0"/>
              <a:t>#number</a:t>
            </a:r>
          </a:p>
          <a:p>
            <a:pPr lvl="1"/>
            <a:r>
              <a:rPr lang="en-US" noProof="0" dirty="0"/>
              <a:t>Title </a:t>
            </a:r>
          </a:p>
          <a:p>
            <a:pPr lvl="2"/>
            <a:r>
              <a:rPr lang="en-US" noProof="0" dirty="0"/>
              <a:t>Subtitle</a:t>
            </a:r>
          </a:p>
        </p:txBody>
      </p:sp>
      <p:sp>
        <p:nvSpPr>
          <p:cNvPr id="50" name="Text Placeholder 31">
            <a:extLst>
              <a:ext uri="{FF2B5EF4-FFF2-40B4-BE49-F238E27FC236}">
                <a16:creationId xmlns:a16="http://schemas.microsoft.com/office/drawing/2014/main" id="{7F3A3A18-7B5D-44BB-9CE1-A32086BF835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38138" y="3550728"/>
            <a:ext cx="3416400" cy="1977905"/>
          </a:xfrm>
          <a:prstGeom prst="rect">
            <a:avLst/>
          </a:prstGeom>
          <a:noFill/>
          <a:effectLst/>
        </p:spPr>
        <p:txBody>
          <a:bodyPr vert="horz" lIns="0" tIns="198000" rIns="0" bIns="0">
            <a:noAutofit/>
          </a:bodyPr>
          <a:lstStyle>
            <a:lvl1pPr marL="180000" indent="-180000">
              <a:spcBef>
                <a:spcPts val="32"/>
              </a:spcBef>
              <a:buSzPct val="100000"/>
              <a:buFontTx/>
              <a:buBlip>
                <a:blip r:embed="rId2"/>
              </a:buBlip>
              <a:defRPr sz="2000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spcBef>
                <a:spcPts val="400"/>
              </a:spcBef>
              <a:buFont typeface="Arial"/>
              <a:buNone/>
              <a:defRPr lang="en-US" sz="1867" b="1" kern="12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80000" indent="0">
              <a:spcBef>
                <a:spcPts val="400"/>
              </a:spcBef>
              <a:buNone/>
              <a:def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en-US" noProof="0" dirty="0"/>
              <a:t>#number</a:t>
            </a:r>
          </a:p>
          <a:p>
            <a:pPr lvl="1"/>
            <a:r>
              <a:rPr lang="en-US" noProof="0" dirty="0"/>
              <a:t>Title </a:t>
            </a:r>
          </a:p>
          <a:p>
            <a:pPr lvl="2"/>
            <a:r>
              <a:rPr lang="en-US" noProof="0" dirty="0"/>
              <a:t>Subtitle</a:t>
            </a:r>
          </a:p>
        </p:txBody>
      </p:sp>
      <p:sp>
        <p:nvSpPr>
          <p:cNvPr id="52" name="Text Placeholder 31">
            <a:extLst>
              <a:ext uri="{FF2B5EF4-FFF2-40B4-BE49-F238E27FC236}">
                <a16:creationId xmlns:a16="http://schemas.microsoft.com/office/drawing/2014/main" id="{8897BC39-7502-4768-B810-E7B8DA1960A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188978" y="3550728"/>
            <a:ext cx="3416400" cy="1977905"/>
          </a:xfrm>
          <a:prstGeom prst="rect">
            <a:avLst/>
          </a:prstGeom>
          <a:noFill/>
          <a:effectLst/>
        </p:spPr>
        <p:txBody>
          <a:bodyPr vert="horz" lIns="0" tIns="198000" rIns="0" bIns="0">
            <a:noAutofit/>
          </a:bodyPr>
          <a:lstStyle>
            <a:lvl1pPr marL="180000" indent="-180000">
              <a:spcBef>
                <a:spcPts val="32"/>
              </a:spcBef>
              <a:buSzPct val="100000"/>
              <a:buFontTx/>
              <a:buBlip>
                <a:blip r:embed="rId2"/>
              </a:buBlip>
              <a:defRPr sz="2000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spcBef>
                <a:spcPts val="400"/>
              </a:spcBef>
              <a:buFont typeface="Arial"/>
              <a:buNone/>
              <a:defRPr lang="en-US" sz="1867" b="1" kern="12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80000" indent="0">
              <a:spcBef>
                <a:spcPts val="400"/>
              </a:spcBef>
              <a:buNone/>
              <a:def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en-US" noProof="0" dirty="0"/>
              <a:t>#number</a:t>
            </a:r>
          </a:p>
          <a:p>
            <a:pPr lvl="1"/>
            <a:r>
              <a:rPr lang="en-US" noProof="0" dirty="0"/>
              <a:t>Title </a:t>
            </a:r>
          </a:p>
          <a:p>
            <a:pPr lvl="2"/>
            <a:r>
              <a:rPr lang="en-US" noProof="0" dirty="0"/>
              <a:t>Subtitle</a:t>
            </a:r>
          </a:p>
        </p:txBody>
      </p:sp>
      <p:sp>
        <p:nvSpPr>
          <p:cNvPr id="54" name="Text Placeholder 31">
            <a:extLst>
              <a:ext uri="{FF2B5EF4-FFF2-40B4-BE49-F238E27FC236}">
                <a16:creationId xmlns:a16="http://schemas.microsoft.com/office/drawing/2014/main" id="{C2FE752F-0CB7-4192-AF9D-C7C6119C515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263558" y="3550728"/>
            <a:ext cx="3416400" cy="1977905"/>
          </a:xfrm>
          <a:prstGeom prst="rect">
            <a:avLst/>
          </a:prstGeom>
          <a:noFill/>
          <a:effectLst/>
        </p:spPr>
        <p:txBody>
          <a:bodyPr vert="horz" lIns="0" tIns="198000" rIns="0" bIns="0">
            <a:noAutofit/>
          </a:bodyPr>
          <a:lstStyle>
            <a:lvl1pPr marL="180000" indent="-180000">
              <a:spcBef>
                <a:spcPts val="32"/>
              </a:spcBef>
              <a:buSzPct val="100000"/>
              <a:buFontTx/>
              <a:buBlip>
                <a:blip r:embed="rId2"/>
              </a:buBlip>
              <a:defRPr sz="2000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spcBef>
                <a:spcPts val="400"/>
              </a:spcBef>
              <a:buFont typeface="Arial"/>
              <a:buNone/>
              <a:defRPr lang="en-US" sz="1867" b="1" kern="12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80000" indent="0">
              <a:spcBef>
                <a:spcPts val="400"/>
              </a:spcBef>
              <a:buNone/>
              <a:def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en-US" noProof="0" dirty="0"/>
              <a:t>#number</a:t>
            </a:r>
          </a:p>
          <a:p>
            <a:pPr lvl="1"/>
            <a:r>
              <a:rPr lang="en-US" noProof="0" dirty="0"/>
              <a:t>Title </a:t>
            </a:r>
          </a:p>
          <a:p>
            <a:pPr lvl="2"/>
            <a:r>
              <a:rPr lang="en-US" noProof="0" dirty="0"/>
              <a:t>Subtitl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D21AF340-0A56-4CAD-B80B-E0B5A158122A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993C7F60-4D53-4BFB-94D9-FF72628E0FC9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0A46BBD-1353-4DEE-90ED-FC9762CA68C0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5A90659-A419-44E1-B302-883E1626AF8D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Group 6">
            <a:extLst>
              <a:ext uri="{FF2B5EF4-FFF2-40B4-BE49-F238E27FC236}">
                <a16:creationId xmlns:a16="http://schemas.microsoft.com/office/drawing/2014/main" id="{7E7550A2-BBD6-4B63-96CF-10F2813E88A8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8EEA1F89-B071-45C4-8964-173991CB18DF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929E4E01-1FC1-4427-AD5D-B208220DBA5D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9EEF6530-CB1C-4861-928B-537640582E29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1CE17B4-F754-4302-B610-D14149602A7F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8BE3A67-B0AC-4B86-85DD-CB79D13C3D74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4320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gradFill>
          <a:gsLst>
            <a:gs pos="0">
              <a:srgbClr val="430099">
                <a:alpha val="95000"/>
              </a:srgbClr>
            </a:gs>
            <a:gs pos="100000">
              <a:srgbClr val="4B00B0">
                <a:alpha val="95000"/>
              </a:srgbClr>
            </a:gs>
            <a:gs pos="30000">
              <a:srgbClr val="4B00B0">
                <a:alpha val="70000"/>
              </a:srgb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Espace réservé pour une image  29">
            <a:extLst>
              <a:ext uri="{FF2B5EF4-FFF2-40B4-BE49-F238E27FC236}">
                <a16:creationId xmlns:a16="http://schemas.microsoft.com/office/drawing/2014/main" id="{F6DAC189-D5D7-49DF-938F-FE05A427BC5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103788" y="0"/>
            <a:ext cx="7088212" cy="6858000"/>
          </a:xfrm>
          <a:custGeom>
            <a:avLst/>
            <a:gdLst>
              <a:gd name="connsiteX0" fmla="*/ 7088212 w 7088212"/>
              <a:gd name="connsiteY0" fmla="*/ 2316551 h 6858000"/>
              <a:gd name="connsiteX1" fmla="*/ 7088212 w 7088212"/>
              <a:gd name="connsiteY1" fmla="*/ 3270182 h 6858000"/>
              <a:gd name="connsiteX2" fmla="*/ 7088212 w 7088212"/>
              <a:gd name="connsiteY2" fmla="*/ 3597980 h 6858000"/>
              <a:gd name="connsiteX3" fmla="*/ 7088212 w 7088212"/>
              <a:gd name="connsiteY3" fmla="*/ 4546633 h 6858000"/>
              <a:gd name="connsiteX4" fmla="*/ 6546184 w 7088212"/>
              <a:gd name="connsiteY4" fmla="*/ 3434544 h 6858000"/>
              <a:gd name="connsiteX5" fmla="*/ 7088212 w 7088212"/>
              <a:gd name="connsiteY5" fmla="*/ 1297052 h 6858000"/>
              <a:gd name="connsiteX6" fmla="*/ 7088212 w 7088212"/>
              <a:gd name="connsiteY6" fmla="*/ 2251081 h 6858000"/>
              <a:gd name="connsiteX7" fmla="*/ 6514644 w 7088212"/>
              <a:gd name="connsiteY7" fmla="*/ 3434545 h 6858000"/>
              <a:gd name="connsiteX8" fmla="*/ 7088212 w 7088212"/>
              <a:gd name="connsiteY8" fmla="*/ 4611344 h 6858000"/>
              <a:gd name="connsiteX9" fmla="*/ 7088212 w 7088212"/>
              <a:gd name="connsiteY9" fmla="*/ 5559997 h 6858000"/>
              <a:gd name="connsiteX10" fmla="*/ 6052274 w 7088212"/>
              <a:gd name="connsiteY10" fmla="*/ 3434545 h 6858000"/>
              <a:gd name="connsiteX11" fmla="*/ 7088212 w 7088212"/>
              <a:gd name="connsiteY11" fmla="*/ 286451 h 6858000"/>
              <a:gd name="connsiteX12" fmla="*/ 7088212 w 7088212"/>
              <a:gd name="connsiteY12" fmla="*/ 1223092 h 6858000"/>
              <a:gd name="connsiteX13" fmla="*/ 6016431 w 7088212"/>
              <a:gd name="connsiteY13" fmla="*/ 3434543 h 6858000"/>
              <a:gd name="connsiteX14" fmla="*/ 7088212 w 7088212"/>
              <a:gd name="connsiteY14" fmla="*/ 5633535 h 6858000"/>
              <a:gd name="connsiteX15" fmla="*/ 7088212 w 7088212"/>
              <a:gd name="connsiteY15" fmla="*/ 6566009 h 6858000"/>
              <a:gd name="connsiteX16" fmla="*/ 5561946 w 7088212"/>
              <a:gd name="connsiteY16" fmla="*/ 3434543 h 6858000"/>
              <a:gd name="connsiteX17" fmla="*/ 6736761 w 7088212"/>
              <a:gd name="connsiteY17" fmla="*/ 1 h 6858000"/>
              <a:gd name="connsiteX18" fmla="*/ 7088212 w 7088212"/>
              <a:gd name="connsiteY18" fmla="*/ 1 h 6858000"/>
              <a:gd name="connsiteX19" fmla="*/ 7088212 w 7088212"/>
              <a:gd name="connsiteY19" fmla="*/ 195109 h 6858000"/>
              <a:gd name="connsiteX20" fmla="*/ 5518218 w 7088212"/>
              <a:gd name="connsiteY20" fmla="*/ 3434542 h 6858000"/>
              <a:gd name="connsiteX21" fmla="*/ 7088212 w 7088212"/>
              <a:gd name="connsiteY21" fmla="*/ 6655729 h 6858000"/>
              <a:gd name="connsiteX22" fmla="*/ 7088212 w 7088212"/>
              <a:gd name="connsiteY22" fmla="*/ 6858000 h 6858000"/>
              <a:gd name="connsiteX23" fmla="*/ 6740201 w 7088212"/>
              <a:gd name="connsiteY23" fmla="*/ 6858000 h 6858000"/>
              <a:gd name="connsiteX24" fmla="*/ 5071618 w 7088212"/>
              <a:gd name="connsiteY24" fmla="*/ 3434542 h 6858000"/>
              <a:gd name="connsiteX25" fmla="*/ 6238549 w 7088212"/>
              <a:gd name="connsiteY25" fmla="*/ 1 h 6858000"/>
              <a:gd name="connsiteX26" fmla="*/ 6692444 w 7088212"/>
              <a:gd name="connsiteY26" fmla="*/ 1 h 6858000"/>
              <a:gd name="connsiteX27" fmla="*/ 5027891 w 7088212"/>
              <a:gd name="connsiteY27" fmla="*/ 3434542 h 6858000"/>
              <a:gd name="connsiteX28" fmla="*/ 6696474 w 7088212"/>
              <a:gd name="connsiteY28" fmla="*/ 6858000 h 6858000"/>
              <a:gd name="connsiteX29" fmla="*/ 6241989 w 7088212"/>
              <a:gd name="connsiteY29" fmla="*/ 6858000 h 6858000"/>
              <a:gd name="connsiteX30" fmla="*/ 4573406 w 7088212"/>
              <a:gd name="connsiteY30" fmla="*/ 3434542 h 6858000"/>
              <a:gd name="connsiteX31" fmla="*/ 5748221 w 7088212"/>
              <a:gd name="connsiteY31" fmla="*/ 1 h 6858000"/>
              <a:gd name="connsiteX32" fmla="*/ 6194231 w 7088212"/>
              <a:gd name="connsiteY32" fmla="*/ 1 h 6858000"/>
              <a:gd name="connsiteX33" fmla="*/ 4529678 w 7088212"/>
              <a:gd name="connsiteY33" fmla="*/ 3434542 h 6858000"/>
              <a:gd name="connsiteX34" fmla="*/ 6198261 w 7088212"/>
              <a:gd name="connsiteY34" fmla="*/ 6858000 h 6858000"/>
              <a:gd name="connsiteX35" fmla="*/ 5751661 w 7088212"/>
              <a:gd name="connsiteY35" fmla="*/ 6858000 h 6858000"/>
              <a:gd name="connsiteX36" fmla="*/ 4083078 w 7088212"/>
              <a:gd name="connsiteY36" fmla="*/ 3434542 h 6858000"/>
              <a:gd name="connsiteX37" fmla="*/ 5257893 w 7088212"/>
              <a:gd name="connsiteY37" fmla="*/ 1 h 6858000"/>
              <a:gd name="connsiteX38" fmla="*/ 5696019 w 7088212"/>
              <a:gd name="connsiteY38" fmla="*/ 1 h 6858000"/>
              <a:gd name="connsiteX39" fmla="*/ 4031465 w 7088212"/>
              <a:gd name="connsiteY39" fmla="*/ 3434542 h 6858000"/>
              <a:gd name="connsiteX40" fmla="*/ 5700048 w 7088212"/>
              <a:gd name="connsiteY40" fmla="*/ 6858000 h 6858000"/>
              <a:gd name="connsiteX41" fmla="*/ 5261334 w 7088212"/>
              <a:gd name="connsiteY41" fmla="*/ 6858000 h 6858000"/>
              <a:gd name="connsiteX42" fmla="*/ 3592751 w 7088212"/>
              <a:gd name="connsiteY42" fmla="*/ 3434542 h 6858000"/>
              <a:gd name="connsiteX43" fmla="*/ 4787634 w 7088212"/>
              <a:gd name="connsiteY43" fmla="*/ 1 h 6858000"/>
              <a:gd name="connsiteX44" fmla="*/ 5178319 w 7088212"/>
              <a:gd name="connsiteY44" fmla="*/ 1 h 6858000"/>
              <a:gd name="connsiteX45" fmla="*/ 3513176 w 7088212"/>
              <a:gd name="connsiteY45" fmla="*/ 3434542 h 6858000"/>
              <a:gd name="connsiteX46" fmla="*/ 5182449 w 7088212"/>
              <a:gd name="connsiteY46" fmla="*/ 6858000 h 6858000"/>
              <a:gd name="connsiteX47" fmla="*/ 4791074 w 7088212"/>
              <a:gd name="connsiteY47" fmla="*/ 6858000 h 6858000"/>
              <a:gd name="connsiteX48" fmla="*/ 3122491 w 7088212"/>
              <a:gd name="connsiteY48" fmla="*/ 3434542 h 6858000"/>
              <a:gd name="connsiteX49" fmla="*/ 4309493 w 7088212"/>
              <a:gd name="connsiteY49" fmla="*/ 1 h 6858000"/>
              <a:gd name="connsiteX50" fmla="*/ 4668049 w 7088212"/>
              <a:gd name="connsiteY50" fmla="*/ 1 h 6858000"/>
              <a:gd name="connsiteX51" fmla="*/ 3003495 w 7088212"/>
              <a:gd name="connsiteY51" fmla="*/ 3434542 h 6858000"/>
              <a:gd name="connsiteX52" fmla="*/ 4672078 w 7088212"/>
              <a:gd name="connsiteY52" fmla="*/ 6858000 h 6858000"/>
              <a:gd name="connsiteX53" fmla="*/ 4312934 w 7088212"/>
              <a:gd name="connsiteY53" fmla="*/ 6858000 h 6858000"/>
              <a:gd name="connsiteX54" fmla="*/ 2644351 w 7088212"/>
              <a:gd name="connsiteY54" fmla="*/ 3434542 h 6858000"/>
              <a:gd name="connsiteX55" fmla="*/ 3827179 w 7088212"/>
              <a:gd name="connsiteY55" fmla="*/ 1 h 6858000"/>
              <a:gd name="connsiteX56" fmla="*/ 4161821 w 7088212"/>
              <a:gd name="connsiteY56" fmla="*/ 1 h 6858000"/>
              <a:gd name="connsiteX57" fmla="*/ 2496679 w 7088212"/>
              <a:gd name="connsiteY57" fmla="*/ 3434542 h 6858000"/>
              <a:gd name="connsiteX58" fmla="*/ 4165951 w 7088212"/>
              <a:gd name="connsiteY58" fmla="*/ 6858000 h 6858000"/>
              <a:gd name="connsiteX59" fmla="*/ 3831208 w 7088212"/>
              <a:gd name="connsiteY59" fmla="*/ 6858000 h 6858000"/>
              <a:gd name="connsiteX60" fmla="*/ 2162625 w 7088212"/>
              <a:gd name="connsiteY60" fmla="*/ 3434542 h 6858000"/>
              <a:gd name="connsiteX61" fmla="*/ 3396278 w 7088212"/>
              <a:gd name="connsiteY61" fmla="*/ 1 h 6858000"/>
              <a:gd name="connsiteX62" fmla="*/ 3658775 w 7088212"/>
              <a:gd name="connsiteY62" fmla="*/ 1 h 6858000"/>
              <a:gd name="connsiteX63" fmla="*/ 1994222 w 7088212"/>
              <a:gd name="connsiteY63" fmla="*/ 3434542 h 6858000"/>
              <a:gd name="connsiteX64" fmla="*/ 3662804 w 7088212"/>
              <a:gd name="connsiteY64" fmla="*/ 6858000 h 6858000"/>
              <a:gd name="connsiteX65" fmla="*/ 3399719 w 7088212"/>
              <a:gd name="connsiteY65" fmla="*/ 6858000 h 6858000"/>
              <a:gd name="connsiteX66" fmla="*/ 1731136 w 7088212"/>
              <a:gd name="connsiteY66" fmla="*/ 3434542 h 6858000"/>
              <a:gd name="connsiteX67" fmla="*/ 2965904 w 7088212"/>
              <a:gd name="connsiteY67" fmla="*/ 0 h 6858000"/>
              <a:gd name="connsiteX68" fmla="*/ 3196732 w 7088212"/>
              <a:gd name="connsiteY68" fmla="*/ 0 h 6858000"/>
              <a:gd name="connsiteX69" fmla="*/ 1531590 w 7088212"/>
              <a:gd name="connsiteY69" fmla="*/ 3434542 h 6858000"/>
              <a:gd name="connsiteX70" fmla="*/ 3200863 w 7088212"/>
              <a:gd name="connsiteY70" fmla="*/ 6858000 h 6858000"/>
              <a:gd name="connsiteX71" fmla="*/ 2969345 w 7088212"/>
              <a:gd name="connsiteY71" fmla="*/ 6858000 h 6858000"/>
              <a:gd name="connsiteX72" fmla="*/ 1300762 w 7088212"/>
              <a:gd name="connsiteY72" fmla="*/ 3434542 h 6858000"/>
              <a:gd name="connsiteX73" fmla="*/ 2506592 w 7088212"/>
              <a:gd name="connsiteY73" fmla="*/ 0 h 6858000"/>
              <a:gd name="connsiteX74" fmla="*/ 2690136 w 7088212"/>
              <a:gd name="connsiteY74" fmla="*/ 0 h 6858000"/>
              <a:gd name="connsiteX75" fmla="*/ 1025582 w 7088212"/>
              <a:gd name="connsiteY75" fmla="*/ 3434542 h 6858000"/>
              <a:gd name="connsiteX76" fmla="*/ 2694165 w 7088212"/>
              <a:gd name="connsiteY76" fmla="*/ 6858000 h 6858000"/>
              <a:gd name="connsiteX77" fmla="*/ 2510651 w 7088212"/>
              <a:gd name="connsiteY77" fmla="*/ 6858000 h 6858000"/>
              <a:gd name="connsiteX78" fmla="*/ 842068 w 7088212"/>
              <a:gd name="connsiteY78" fmla="*/ 3434542 h 6858000"/>
              <a:gd name="connsiteX79" fmla="*/ 859272 w 7088212"/>
              <a:gd name="connsiteY79" fmla="*/ 3398698 h 6858000"/>
              <a:gd name="connsiteX80" fmla="*/ 2066862 w 7088212"/>
              <a:gd name="connsiteY80" fmla="*/ 0 h 6858000"/>
              <a:gd name="connsiteX81" fmla="*/ 2178634 w 7088212"/>
              <a:gd name="connsiteY81" fmla="*/ 0 h 6858000"/>
              <a:gd name="connsiteX82" fmla="*/ 513490 w 7088212"/>
              <a:gd name="connsiteY82" fmla="*/ 3434542 h 6858000"/>
              <a:gd name="connsiteX83" fmla="*/ 2182763 w 7088212"/>
              <a:gd name="connsiteY83" fmla="*/ 6858000 h 6858000"/>
              <a:gd name="connsiteX84" fmla="*/ 2070961 w 7088212"/>
              <a:gd name="connsiteY84" fmla="*/ 6858000 h 6858000"/>
              <a:gd name="connsiteX85" fmla="*/ 402378 w 7088212"/>
              <a:gd name="connsiteY85" fmla="*/ 3434542 h 6858000"/>
              <a:gd name="connsiteX86" fmla="*/ 412414 w 7088212"/>
              <a:gd name="connsiteY86" fmla="*/ 3413036 h 6858000"/>
              <a:gd name="connsiteX87" fmla="*/ 1664655 w 7088212"/>
              <a:gd name="connsiteY87" fmla="*/ 0 h 6858000"/>
              <a:gd name="connsiteX88" fmla="*/ 1736238 w 7088212"/>
              <a:gd name="connsiteY88" fmla="*/ 0 h 6858000"/>
              <a:gd name="connsiteX89" fmla="*/ 71684 w 7088212"/>
              <a:gd name="connsiteY89" fmla="*/ 3434542 h 6858000"/>
              <a:gd name="connsiteX90" fmla="*/ 1740267 w 7088212"/>
              <a:gd name="connsiteY90" fmla="*/ 6858000 h 6858000"/>
              <a:gd name="connsiteX91" fmla="*/ 1668582 w 7088212"/>
              <a:gd name="connsiteY91" fmla="*/ 6858000 h 6858000"/>
              <a:gd name="connsiteX92" fmla="*/ 0 w 7088212"/>
              <a:gd name="connsiteY92" fmla="*/ 3434545 h 6858000"/>
              <a:gd name="connsiteX93" fmla="*/ 0 w 7088212"/>
              <a:gd name="connsiteY93" fmla="*/ 3434539 h 6858000"/>
              <a:gd name="connsiteX94" fmla="*/ 7167 w 7088212"/>
              <a:gd name="connsiteY94" fmla="*/ 34209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7088212" h="6858000">
                <a:moveTo>
                  <a:pt x="7088212" y="2316551"/>
                </a:moveTo>
                <a:lnTo>
                  <a:pt x="7088212" y="3270182"/>
                </a:lnTo>
                <a:lnTo>
                  <a:pt x="7088212" y="3597980"/>
                </a:lnTo>
                <a:lnTo>
                  <a:pt x="7088212" y="4546633"/>
                </a:lnTo>
                <a:lnTo>
                  <a:pt x="6546184" y="3434544"/>
                </a:lnTo>
                <a:close/>
                <a:moveTo>
                  <a:pt x="7088212" y="1297052"/>
                </a:moveTo>
                <a:lnTo>
                  <a:pt x="7088212" y="2251081"/>
                </a:lnTo>
                <a:lnTo>
                  <a:pt x="6514644" y="3434545"/>
                </a:lnTo>
                <a:lnTo>
                  <a:pt x="7088212" y="4611344"/>
                </a:lnTo>
                <a:lnTo>
                  <a:pt x="7088212" y="5559997"/>
                </a:lnTo>
                <a:lnTo>
                  <a:pt x="6052274" y="3434545"/>
                </a:lnTo>
                <a:close/>
                <a:moveTo>
                  <a:pt x="7088212" y="286451"/>
                </a:moveTo>
                <a:lnTo>
                  <a:pt x="7088212" y="1223092"/>
                </a:lnTo>
                <a:lnTo>
                  <a:pt x="6016431" y="3434543"/>
                </a:lnTo>
                <a:lnTo>
                  <a:pt x="7088212" y="5633535"/>
                </a:lnTo>
                <a:lnTo>
                  <a:pt x="7088212" y="6566009"/>
                </a:lnTo>
                <a:lnTo>
                  <a:pt x="5561946" y="3434543"/>
                </a:lnTo>
                <a:close/>
                <a:moveTo>
                  <a:pt x="6736761" y="1"/>
                </a:moveTo>
                <a:lnTo>
                  <a:pt x="7088212" y="1"/>
                </a:lnTo>
                <a:lnTo>
                  <a:pt x="7088212" y="195109"/>
                </a:lnTo>
                <a:lnTo>
                  <a:pt x="5518218" y="3434542"/>
                </a:lnTo>
                <a:lnTo>
                  <a:pt x="7088212" y="6655729"/>
                </a:lnTo>
                <a:lnTo>
                  <a:pt x="7088212" y="6858000"/>
                </a:lnTo>
                <a:lnTo>
                  <a:pt x="6740201" y="6858000"/>
                </a:lnTo>
                <a:lnTo>
                  <a:pt x="5071618" y="3434542"/>
                </a:lnTo>
                <a:close/>
                <a:moveTo>
                  <a:pt x="6238549" y="1"/>
                </a:moveTo>
                <a:lnTo>
                  <a:pt x="6692444" y="1"/>
                </a:lnTo>
                <a:lnTo>
                  <a:pt x="5027891" y="3434542"/>
                </a:lnTo>
                <a:lnTo>
                  <a:pt x="6696474" y="6858000"/>
                </a:lnTo>
                <a:lnTo>
                  <a:pt x="6241989" y="6858000"/>
                </a:lnTo>
                <a:lnTo>
                  <a:pt x="4573406" y="3434542"/>
                </a:lnTo>
                <a:close/>
                <a:moveTo>
                  <a:pt x="5748221" y="1"/>
                </a:moveTo>
                <a:lnTo>
                  <a:pt x="6194231" y="1"/>
                </a:lnTo>
                <a:lnTo>
                  <a:pt x="4529678" y="3434542"/>
                </a:lnTo>
                <a:lnTo>
                  <a:pt x="6198261" y="6858000"/>
                </a:lnTo>
                <a:lnTo>
                  <a:pt x="5751661" y="6858000"/>
                </a:lnTo>
                <a:lnTo>
                  <a:pt x="4083078" y="3434542"/>
                </a:lnTo>
                <a:close/>
                <a:moveTo>
                  <a:pt x="5257893" y="1"/>
                </a:moveTo>
                <a:lnTo>
                  <a:pt x="5696019" y="1"/>
                </a:lnTo>
                <a:lnTo>
                  <a:pt x="4031465" y="3434542"/>
                </a:lnTo>
                <a:lnTo>
                  <a:pt x="5700048" y="6858000"/>
                </a:lnTo>
                <a:lnTo>
                  <a:pt x="5261334" y="6858000"/>
                </a:lnTo>
                <a:lnTo>
                  <a:pt x="3592751" y="3434542"/>
                </a:lnTo>
                <a:close/>
                <a:moveTo>
                  <a:pt x="4787634" y="1"/>
                </a:moveTo>
                <a:lnTo>
                  <a:pt x="5178319" y="1"/>
                </a:lnTo>
                <a:lnTo>
                  <a:pt x="3513176" y="3434542"/>
                </a:lnTo>
                <a:lnTo>
                  <a:pt x="5182449" y="6858000"/>
                </a:lnTo>
                <a:lnTo>
                  <a:pt x="4791074" y="6858000"/>
                </a:lnTo>
                <a:lnTo>
                  <a:pt x="3122491" y="3434542"/>
                </a:lnTo>
                <a:close/>
                <a:moveTo>
                  <a:pt x="4309493" y="1"/>
                </a:moveTo>
                <a:lnTo>
                  <a:pt x="4668049" y="1"/>
                </a:lnTo>
                <a:lnTo>
                  <a:pt x="3003495" y="3434542"/>
                </a:lnTo>
                <a:lnTo>
                  <a:pt x="4672078" y="6858000"/>
                </a:lnTo>
                <a:lnTo>
                  <a:pt x="4312934" y="6858000"/>
                </a:lnTo>
                <a:lnTo>
                  <a:pt x="2644351" y="3434542"/>
                </a:lnTo>
                <a:close/>
                <a:moveTo>
                  <a:pt x="3827179" y="1"/>
                </a:moveTo>
                <a:lnTo>
                  <a:pt x="4161821" y="1"/>
                </a:lnTo>
                <a:lnTo>
                  <a:pt x="2496679" y="3434542"/>
                </a:lnTo>
                <a:lnTo>
                  <a:pt x="4165951" y="6858000"/>
                </a:lnTo>
                <a:lnTo>
                  <a:pt x="3831208" y="6858000"/>
                </a:lnTo>
                <a:lnTo>
                  <a:pt x="2162625" y="3434542"/>
                </a:lnTo>
                <a:close/>
                <a:moveTo>
                  <a:pt x="3396278" y="1"/>
                </a:moveTo>
                <a:lnTo>
                  <a:pt x="3658775" y="1"/>
                </a:lnTo>
                <a:lnTo>
                  <a:pt x="1994222" y="3434542"/>
                </a:lnTo>
                <a:lnTo>
                  <a:pt x="3662804" y="6858000"/>
                </a:lnTo>
                <a:lnTo>
                  <a:pt x="3399719" y="6858000"/>
                </a:lnTo>
                <a:lnTo>
                  <a:pt x="1731136" y="3434542"/>
                </a:lnTo>
                <a:close/>
                <a:moveTo>
                  <a:pt x="2965904" y="0"/>
                </a:moveTo>
                <a:lnTo>
                  <a:pt x="3196732" y="0"/>
                </a:lnTo>
                <a:lnTo>
                  <a:pt x="1531590" y="3434542"/>
                </a:lnTo>
                <a:lnTo>
                  <a:pt x="3200863" y="6858000"/>
                </a:lnTo>
                <a:lnTo>
                  <a:pt x="2969345" y="6858000"/>
                </a:lnTo>
                <a:lnTo>
                  <a:pt x="1300762" y="3434542"/>
                </a:lnTo>
                <a:close/>
                <a:moveTo>
                  <a:pt x="2506592" y="0"/>
                </a:moveTo>
                <a:lnTo>
                  <a:pt x="2690136" y="0"/>
                </a:lnTo>
                <a:lnTo>
                  <a:pt x="1025582" y="3434542"/>
                </a:lnTo>
                <a:lnTo>
                  <a:pt x="2694165" y="6858000"/>
                </a:lnTo>
                <a:lnTo>
                  <a:pt x="2510651" y="6858000"/>
                </a:lnTo>
                <a:lnTo>
                  <a:pt x="842068" y="3434542"/>
                </a:lnTo>
                <a:lnTo>
                  <a:pt x="859272" y="3398698"/>
                </a:lnTo>
                <a:close/>
                <a:moveTo>
                  <a:pt x="2066862" y="0"/>
                </a:moveTo>
                <a:lnTo>
                  <a:pt x="2178634" y="0"/>
                </a:lnTo>
                <a:lnTo>
                  <a:pt x="513490" y="3434542"/>
                </a:lnTo>
                <a:lnTo>
                  <a:pt x="2182763" y="6858000"/>
                </a:lnTo>
                <a:lnTo>
                  <a:pt x="2070961" y="6858000"/>
                </a:lnTo>
                <a:lnTo>
                  <a:pt x="402378" y="3434542"/>
                </a:lnTo>
                <a:lnTo>
                  <a:pt x="412414" y="3413036"/>
                </a:lnTo>
                <a:close/>
                <a:moveTo>
                  <a:pt x="1664655" y="0"/>
                </a:moveTo>
                <a:lnTo>
                  <a:pt x="1736238" y="0"/>
                </a:lnTo>
                <a:lnTo>
                  <a:pt x="71684" y="3434542"/>
                </a:lnTo>
                <a:lnTo>
                  <a:pt x="1740267" y="6858000"/>
                </a:lnTo>
                <a:lnTo>
                  <a:pt x="1668582" y="6858000"/>
                </a:lnTo>
                <a:lnTo>
                  <a:pt x="0" y="3434545"/>
                </a:lnTo>
                <a:lnTo>
                  <a:pt x="0" y="3434539"/>
                </a:lnTo>
                <a:lnTo>
                  <a:pt x="7167" y="3420921"/>
                </a:lnTo>
                <a:close/>
              </a:path>
            </a:pathLst>
          </a:custGeom>
          <a:solidFill>
            <a:schemeClr val="tx2"/>
          </a:solidFill>
          <a:effectLst/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>
                <a:solidFill>
                  <a:schemeClr val="bg1"/>
                </a:solidFill>
              </a:defRPr>
            </a:lvl1pPr>
          </a:lstStyle>
          <a:p>
            <a:pPr marL="146300" lvl="0" indent="-146300" algn="ctr"/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0325" y="338138"/>
            <a:ext cx="4734424" cy="2904934"/>
          </a:xfrm>
        </p:spPr>
        <p:txBody>
          <a:bodyPr tIns="0" bIns="0" anchor="b" anchorCtr="0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a section title</a:t>
            </a:r>
          </a:p>
        </p:txBody>
      </p:sp>
      <p:sp>
        <p:nvSpPr>
          <p:cNvPr id="107" name="Text Placeholder 5">
            <a:extLst>
              <a:ext uri="{FF2B5EF4-FFF2-40B4-BE49-F238E27FC236}">
                <a16:creationId xmlns:a16="http://schemas.microsoft.com/office/drawing/2014/main" id="{E0BDFDDF-1380-47A1-AEFB-E05AAAD4F8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0325" y="3364992"/>
            <a:ext cx="4196038" cy="1930908"/>
          </a:xfrm>
          <a:noFill/>
          <a:effectLst/>
        </p:spPr>
        <p:txBody>
          <a:bodyPr lIns="0" tIns="0" rIns="0" bIns="0">
            <a:normAutofit/>
          </a:bodyPr>
          <a:lstStyle>
            <a:lvl1pPr marL="0" indent="0">
              <a:spcBef>
                <a:spcPts val="400"/>
              </a:spcBef>
              <a:buFont typeface="Arial" panose="020B0604020202020204" pitchFamily="34" charset="0"/>
              <a:buNone/>
              <a:defRPr sz="2133" b="0">
                <a:solidFill>
                  <a:schemeClr val="bg1"/>
                </a:solidFill>
              </a:defRPr>
            </a:lvl1pPr>
            <a:lvl2pPr marL="170684" indent="0">
              <a:buNone/>
              <a:defRPr sz="2133" b="0"/>
            </a:lvl2pPr>
            <a:lvl3pPr marL="329176" indent="0">
              <a:buNone/>
              <a:defRPr sz="2133" b="0"/>
            </a:lvl3pPr>
            <a:lvl4pPr marL="621776" indent="0">
              <a:buFont typeface="Arial" panose="020B0604020202020204" pitchFamily="34" charset="0"/>
              <a:buNone/>
              <a:defRPr sz="2133" b="0"/>
            </a:lvl4pPr>
            <a:lvl5pPr marL="804652" indent="0">
              <a:buNone/>
              <a:defRPr sz="2133" b="0"/>
            </a:lvl5pPr>
          </a:lstStyle>
          <a:p>
            <a:pPr lvl="0"/>
            <a:r>
              <a:rPr lang="en-US" dirty="0"/>
              <a:t>Insert subtitle</a:t>
            </a:r>
            <a:br>
              <a:rPr lang="en-US" dirty="0"/>
            </a:br>
            <a:r>
              <a:rPr lang="en-US" dirty="0"/>
              <a:t>here.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6C15F6A-893F-4665-A9C2-107CDB79AB7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30D061-B719-4928-8AB1-CE41765E25C8}" type="datetime1">
              <a:rPr lang="en-US" smtClean="0"/>
              <a:t>2/17/2023</a:t>
            </a:fld>
            <a:endParaRPr lang="en-US" dirty="0"/>
          </a:p>
        </p:txBody>
      </p:sp>
      <p:grpSp>
        <p:nvGrpSpPr>
          <p:cNvPr id="99" name="Group 6">
            <a:extLst>
              <a:ext uri="{FF2B5EF4-FFF2-40B4-BE49-F238E27FC236}">
                <a16:creationId xmlns:a16="http://schemas.microsoft.com/office/drawing/2014/main" id="{345D9FE9-2D71-474F-848D-A9E926A81DA8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bg1"/>
          </a:solidFill>
        </p:grpSpPr>
        <p:sp>
          <p:nvSpPr>
            <p:cNvPr id="100" name="Freeform 5">
              <a:extLst>
                <a:ext uri="{FF2B5EF4-FFF2-40B4-BE49-F238E27FC236}">
                  <a16:creationId xmlns:a16="http://schemas.microsoft.com/office/drawing/2014/main" id="{AA0D15A5-787C-4252-AA4C-AA480F8F1F85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 6">
              <a:extLst>
                <a:ext uri="{FF2B5EF4-FFF2-40B4-BE49-F238E27FC236}">
                  <a16:creationId xmlns:a16="http://schemas.microsoft.com/office/drawing/2014/main" id="{409A9967-0E9B-4B11-90D5-A6B17FEC0D55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Freeform 7">
              <a:extLst>
                <a:ext uri="{FF2B5EF4-FFF2-40B4-BE49-F238E27FC236}">
                  <a16:creationId xmlns:a16="http://schemas.microsoft.com/office/drawing/2014/main" id="{4DBE115D-76B0-47EF-A06E-D036BD075875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reeform 8">
              <a:extLst>
                <a:ext uri="{FF2B5EF4-FFF2-40B4-BE49-F238E27FC236}">
                  <a16:creationId xmlns:a16="http://schemas.microsoft.com/office/drawing/2014/main" id="{086DE8E3-69CB-4427-A934-343A80F23DDB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Freeform 9">
              <a:extLst>
                <a:ext uri="{FF2B5EF4-FFF2-40B4-BE49-F238E27FC236}">
                  <a16:creationId xmlns:a16="http://schemas.microsoft.com/office/drawing/2014/main" id="{8ED340F2-B0DF-4611-A0B1-D810B3028DB7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79749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bg>
      <p:bgPr>
        <a:gradFill>
          <a:gsLst>
            <a:gs pos="0">
              <a:srgbClr val="430099">
                <a:alpha val="95000"/>
              </a:srgbClr>
            </a:gs>
            <a:gs pos="100000">
              <a:srgbClr val="4B00B0">
                <a:alpha val="95000"/>
              </a:srgbClr>
            </a:gs>
            <a:gs pos="30000">
              <a:srgbClr val="4B00B0">
                <a:alpha val="70000"/>
              </a:srgb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0325" y="338138"/>
            <a:ext cx="4734424" cy="2904934"/>
          </a:xfrm>
        </p:spPr>
        <p:txBody>
          <a:bodyPr tIns="0" bIns="0" anchor="b" anchorCtr="0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a section title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5E518B50-E87D-4971-A550-C100348BE8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8138" y="3227297"/>
            <a:ext cx="1242834" cy="1306603"/>
          </a:xfrm>
          <a:prstGeom prst="rect">
            <a:avLst/>
          </a:prstGeom>
          <a:noFill/>
          <a:effectLst/>
        </p:spPr>
        <p:txBody>
          <a:bodyPr vert="horz" wrap="none"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8800" b="1" spc="-226" baseline="0">
                <a:solidFill>
                  <a:srgbClr val="FFFFFF"/>
                </a:solidFill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07" name="Text Placeholder 5">
            <a:extLst>
              <a:ext uri="{FF2B5EF4-FFF2-40B4-BE49-F238E27FC236}">
                <a16:creationId xmlns:a16="http://schemas.microsoft.com/office/drawing/2014/main" id="{E0BDFDDF-1380-47A1-AEFB-E05AAAD4F8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26249" y="3364992"/>
            <a:ext cx="2820113" cy="1930908"/>
          </a:xfrm>
          <a:noFill/>
          <a:effectLst/>
        </p:spPr>
        <p:txBody>
          <a:bodyPr lIns="0" tIns="0" rIns="0" bIns="0">
            <a:normAutofit/>
          </a:bodyPr>
          <a:lstStyle>
            <a:lvl1pPr marL="0" indent="0">
              <a:spcBef>
                <a:spcPts val="400"/>
              </a:spcBef>
              <a:buFont typeface="Arial" panose="020B0604020202020204" pitchFamily="34" charset="0"/>
              <a:buNone/>
              <a:defRPr sz="2133" b="0">
                <a:solidFill>
                  <a:schemeClr val="bg1"/>
                </a:solidFill>
              </a:defRPr>
            </a:lvl1pPr>
            <a:lvl2pPr marL="170684" indent="0">
              <a:buNone/>
              <a:defRPr sz="2133" b="0"/>
            </a:lvl2pPr>
            <a:lvl3pPr marL="329176" indent="0">
              <a:buNone/>
              <a:defRPr sz="2133" b="0"/>
            </a:lvl3pPr>
            <a:lvl4pPr marL="621776" indent="0">
              <a:buFont typeface="Arial" panose="020B0604020202020204" pitchFamily="34" charset="0"/>
              <a:buNone/>
              <a:defRPr sz="2133" b="0"/>
            </a:lvl4pPr>
            <a:lvl5pPr marL="804652" indent="0">
              <a:buNone/>
              <a:defRPr sz="2133" b="0"/>
            </a:lvl5pPr>
          </a:lstStyle>
          <a:p>
            <a:pPr lvl="0"/>
            <a:r>
              <a:rPr lang="en-US" dirty="0"/>
              <a:t>Insert subtitle</a:t>
            </a:r>
            <a:br>
              <a:rPr lang="en-US" dirty="0"/>
            </a:br>
            <a:r>
              <a:rPr lang="en-US" dirty="0"/>
              <a:t>here.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6C15F6A-893F-4665-A9C2-107CDB79AB7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D93D1E-5C82-4507-9122-ABBE3123A56C}" type="datetime1">
              <a:rPr lang="en-US" smtClean="0"/>
              <a:t>2/17/2023</a:t>
            </a:fld>
            <a:endParaRPr lang="en-US" dirty="0"/>
          </a:p>
        </p:txBody>
      </p:sp>
      <p:grpSp>
        <p:nvGrpSpPr>
          <p:cNvPr id="99" name="Group 6">
            <a:extLst>
              <a:ext uri="{FF2B5EF4-FFF2-40B4-BE49-F238E27FC236}">
                <a16:creationId xmlns:a16="http://schemas.microsoft.com/office/drawing/2014/main" id="{345D9FE9-2D71-474F-848D-A9E926A81DA8}"/>
              </a:ext>
            </a:extLst>
          </p:cNvPr>
          <p:cNvGrpSpPr/>
          <p:nvPr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bg1"/>
          </a:solidFill>
        </p:grpSpPr>
        <p:sp>
          <p:nvSpPr>
            <p:cNvPr id="100" name="Freeform 5">
              <a:extLst>
                <a:ext uri="{FF2B5EF4-FFF2-40B4-BE49-F238E27FC236}">
                  <a16:creationId xmlns:a16="http://schemas.microsoft.com/office/drawing/2014/main" id="{AA0D15A5-787C-4252-AA4C-AA480F8F1F85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 6">
              <a:extLst>
                <a:ext uri="{FF2B5EF4-FFF2-40B4-BE49-F238E27FC236}">
                  <a16:creationId xmlns:a16="http://schemas.microsoft.com/office/drawing/2014/main" id="{409A9967-0E9B-4B11-90D5-A6B17FEC0D55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Freeform 7">
              <a:extLst>
                <a:ext uri="{FF2B5EF4-FFF2-40B4-BE49-F238E27FC236}">
                  <a16:creationId xmlns:a16="http://schemas.microsoft.com/office/drawing/2014/main" id="{4DBE115D-76B0-47EF-A06E-D036BD075875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reeform 8">
              <a:extLst>
                <a:ext uri="{FF2B5EF4-FFF2-40B4-BE49-F238E27FC236}">
                  <a16:creationId xmlns:a16="http://schemas.microsoft.com/office/drawing/2014/main" id="{086DE8E3-69CB-4427-A934-343A80F23DDB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Freeform 9">
              <a:extLst>
                <a:ext uri="{FF2B5EF4-FFF2-40B4-BE49-F238E27FC236}">
                  <a16:creationId xmlns:a16="http://schemas.microsoft.com/office/drawing/2014/main" id="{8ED340F2-B0DF-4611-A0B1-D810B3028DB7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7EA15F38-54B8-4CC1-A479-859DD3C8741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103788" y="0"/>
            <a:ext cx="7088212" cy="6858000"/>
          </a:xfrm>
          <a:custGeom>
            <a:avLst/>
            <a:gdLst>
              <a:gd name="connsiteX0" fmla="*/ 7088212 w 7088212"/>
              <a:gd name="connsiteY0" fmla="*/ 2316551 h 6858000"/>
              <a:gd name="connsiteX1" fmla="*/ 7088212 w 7088212"/>
              <a:gd name="connsiteY1" fmla="*/ 3270182 h 6858000"/>
              <a:gd name="connsiteX2" fmla="*/ 7088212 w 7088212"/>
              <a:gd name="connsiteY2" fmla="*/ 3597980 h 6858000"/>
              <a:gd name="connsiteX3" fmla="*/ 7088212 w 7088212"/>
              <a:gd name="connsiteY3" fmla="*/ 4546633 h 6858000"/>
              <a:gd name="connsiteX4" fmla="*/ 6546184 w 7088212"/>
              <a:gd name="connsiteY4" fmla="*/ 3434544 h 6858000"/>
              <a:gd name="connsiteX5" fmla="*/ 7088212 w 7088212"/>
              <a:gd name="connsiteY5" fmla="*/ 1297052 h 6858000"/>
              <a:gd name="connsiteX6" fmla="*/ 7088212 w 7088212"/>
              <a:gd name="connsiteY6" fmla="*/ 2251081 h 6858000"/>
              <a:gd name="connsiteX7" fmla="*/ 6514644 w 7088212"/>
              <a:gd name="connsiteY7" fmla="*/ 3434545 h 6858000"/>
              <a:gd name="connsiteX8" fmla="*/ 7088212 w 7088212"/>
              <a:gd name="connsiteY8" fmla="*/ 4611344 h 6858000"/>
              <a:gd name="connsiteX9" fmla="*/ 7088212 w 7088212"/>
              <a:gd name="connsiteY9" fmla="*/ 5559997 h 6858000"/>
              <a:gd name="connsiteX10" fmla="*/ 6052274 w 7088212"/>
              <a:gd name="connsiteY10" fmla="*/ 3434545 h 6858000"/>
              <a:gd name="connsiteX11" fmla="*/ 7088212 w 7088212"/>
              <a:gd name="connsiteY11" fmla="*/ 286451 h 6858000"/>
              <a:gd name="connsiteX12" fmla="*/ 7088212 w 7088212"/>
              <a:gd name="connsiteY12" fmla="*/ 1223092 h 6858000"/>
              <a:gd name="connsiteX13" fmla="*/ 6016431 w 7088212"/>
              <a:gd name="connsiteY13" fmla="*/ 3434543 h 6858000"/>
              <a:gd name="connsiteX14" fmla="*/ 7088212 w 7088212"/>
              <a:gd name="connsiteY14" fmla="*/ 5633535 h 6858000"/>
              <a:gd name="connsiteX15" fmla="*/ 7088212 w 7088212"/>
              <a:gd name="connsiteY15" fmla="*/ 6566009 h 6858000"/>
              <a:gd name="connsiteX16" fmla="*/ 5561946 w 7088212"/>
              <a:gd name="connsiteY16" fmla="*/ 3434543 h 6858000"/>
              <a:gd name="connsiteX17" fmla="*/ 6736761 w 7088212"/>
              <a:gd name="connsiteY17" fmla="*/ 1 h 6858000"/>
              <a:gd name="connsiteX18" fmla="*/ 7088212 w 7088212"/>
              <a:gd name="connsiteY18" fmla="*/ 1 h 6858000"/>
              <a:gd name="connsiteX19" fmla="*/ 7088212 w 7088212"/>
              <a:gd name="connsiteY19" fmla="*/ 195109 h 6858000"/>
              <a:gd name="connsiteX20" fmla="*/ 5518218 w 7088212"/>
              <a:gd name="connsiteY20" fmla="*/ 3434542 h 6858000"/>
              <a:gd name="connsiteX21" fmla="*/ 7088212 w 7088212"/>
              <a:gd name="connsiteY21" fmla="*/ 6655729 h 6858000"/>
              <a:gd name="connsiteX22" fmla="*/ 7088212 w 7088212"/>
              <a:gd name="connsiteY22" fmla="*/ 6858000 h 6858000"/>
              <a:gd name="connsiteX23" fmla="*/ 6740201 w 7088212"/>
              <a:gd name="connsiteY23" fmla="*/ 6858000 h 6858000"/>
              <a:gd name="connsiteX24" fmla="*/ 5071618 w 7088212"/>
              <a:gd name="connsiteY24" fmla="*/ 3434542 h 6858000"/>
              <a:gd name="connsiteX25" fmla="*/ 6238549 w 7088212"/>
              <a:gd name="connsiteY25" fmla="*/ 1 h 6858000"/>
              <a:gd name="connsiteX26" fmla="*/ 6692444 w 7088212"/>
              <a:gd name="connsiteY26" fmla="*/ 1 h 6858000"/>
              <a:gd name="connsiteX27" fmla="*/ 5027891 w 7088212"/>
              <a:gd name="connsiteY27" fmla="*/ 3434542 h 6858000"/>
              <a:gd name="connsiteX28" fmla="*/ 6696474 w 7088212"/>
              <a:gd name="connsiteY28" fmla="*/ 6858000 h 6858000"/>
              <a:gd name="connsiteX29" fmla="*/ 6241989 w 7088212"/>
              <a:gd name="connsiteY29" fmla="*/ 6858000 h 6858000"/>
              <a:gd name="connsiteX30" fmla="*/ 4573406 w 7088212"/>
              <a:gd name="connsiteY30" fmla="*/ 3434542 h 6858000"/>
              <a:gd name="connsiteX31" fmla="*/ 5748221 w 7088212"/>
              <a:gd name="connsiteY31" fmla="*/ 1 h 6858000"/>
              <a:gd name="connsiteX32" fmla="*/ 6194231 w 7088212"/>
              <a:gd name="connsiteY32" fmla="*/ 1 h 6858000"/>
              <a:gd name="connsiteX33" fmla="*/ 4529678 w 7088212"/>
              <a:gd name="connsiteY33" fmla="*/ 3434542 h 6858000"/>
              <a:gd name="connsiteX34" fmla="*/ 6198261 w 7088212"/>
              <a:gd name="connsiteY34" fmla="*/ 6858000 h 6858000"/>
              <a:gd name="connsiteX35" fmla="*/ 5751661 w 7088212"/>
              <a:gd name="connsiteY35" fmla="*/ 6858000 h 6858000"/>
              <a:gd name="connsiteX36" fmla="*/ 4083078 w 7088212"/>
              <a:gd name="connsiteY36" fmla="*/ 3434542 h 6858000"/>
              <a:gd name="connsiteX37" fmla="*/ 5257893 w 7088212"/>
              <a:gd name="connsiteY37" fmla="*/ 1 h 6858000"/>
              <a:gd name="connsiteX38" fmla="*/ 5696019 w 7088212"/>
              <a:gd name="connsiteY38" fmla="*/ 1 h 6858000"/>
              <a:gd name="connsiteX39" fmla="*/ 4031465 w 7088212"/>
              <a:gd name="connsiteY39" fmla="*/ 3434542 h 6858000"/>
              <a:gd name="connsiteX40" fmla="*/ 5700048 w 7088212"/>
              <a:gd name="connsiteY40" fmla="*/ 6858000 h 6858000"/>
              <a:gd name="connsiteX41" fmla="*/ 5261334 w 7088212"/>
              <a:gd name="connsiteY41" fmla="*/ 6858000 h 6858000"/>
              <a:gd name="connsiteX42" fmla="*/ 3592751 w 7088212"/>
              <a:gd name="connsiteY42" fmla="*/ 3434542 h 6858000"/>
              <a:gd name="connsiteX43" fmla="*/ 4787634 w 7088212"/>
              <a:gd name="connsiteY43" fmla="*/ 1 h 6858000"/>
              <a:gd name="connsiteX44" fmla="*/ 5178319 w 7088212"/>
              <a:gd name="connsiteY44" fmla="*/ 1 h 6858000"/>
              <a:gd name="connsiteX45" fmla="*/ 3513176 w 7088212"/>
              <a:gd name="connsiteY45" fmla="*/ 3434542 h 6858000"/>
              <a:gd name="connsiteX46" fmla="*/ 5182449 w 7088212"/>
              <a:gd name="connsiteY46" fmla="*/ 6858000 h 6858000"/>
              <a:gd name="connsiteX47" fmla="*/ 4791074 w 7088212"/>
              <a:gd name="connsiteY47" fmla="*/ 6858000 h 6858000"/>
              <a:gd name="connsiteX48" fmla="*/ 3122491 w 7088212"/>
              <a:gd name="connsiteY48" fmla="*/ 3434542 h 6858000"/>
              <a:gd name="connsiteX49" fmla="*/ 4309493 w 7088212"/>
              <a:gd name="connsiteY49" fmla="*/ 1 h 6858000"/>
              <a:gd name="connsiteX50" fmla="*/ 4668049 w 7088212"/>
              <a:gd name="connsiteY50" fmla="*/ 1 h 6858000"/>
              <a:gd name="connsiteX51" fmla="*/ 3003495 w 7088212"/>
              <a:gd name="connsiteY51" fmla="*/ 3434542 h 6858000"/>
              <a:gd name="connsiteX52" fmla="*/ 4672078 w 7088212"/>
              <a:gd name="connsiteY52" fmla="*/ 6858000 h 6858000"/>
              <a:gd name="connsiteX53" fmla="*/ 4312934 w 7088212"/>
              <a:gd name="connsiteY53" fmla="*/ 6858000 h 6858000"/>
              <a:gd name="connsiteX54" fmla="*/ 2644351 w 7088212"/>
              <a:gd name="connsiteY54" fmla="*/ 3434542 h 6858000"/>
              <a:gd name="connsiteX55" fmla="*/ 3827179 w 7088212"/>
              <a:gd name="connsiteY55" fmla="*/ 1 h 6858000"/>
              <a:gd name="connsiteX56" fmla="*/ 4161821 w 7088212"/>
              <a:gd name="connsiteY56" fmla="*/ 1 h 6858000"/>
              <a:gd name="connsiteX57" fmla="*/ 2496679 w 7088212"/>
              <a:gd name="connsiteY57" fmla="*/ 3434542 h 6858000"/>
              <a:gd name="connsiteX58" fmla="*/ 4165951 w 7088212"/>
              <a:gd name="connsiteY58" fmla="*/ 6858000 h 6858000"/>
              <a:gd name="connsiteX59" fmla="*/ 3831208 w 7088212"/>
              <a:gd name="connsiteY59" fmla="*/ 6858000 h 6858000"/>
              <a:gd name="connsiteX60" fmla="*/ 2162625 w 7088212"/>
              <a:gd name="connsiteY60" fmla="*/ 3434542 h 6858000"/>
              <a:gd name="connsiteX61" fmla="*/ 3396278 w 7088212"/>
              <a:gd name="connsiteY61" fmla="*/ 1 h 6858000"/>
              <a:gd name="connsiteX62" fmla="*/ 3658775 w 7088212"/>
              <a:gd name="connsiteY62" fmla="*/ 1 h 6858000"/>
              <a:gd name="connsiteX63" fmla="*/ 1994222 w 7088212"/>
              <a:gd name="connsiteY63" fmla="*/ 3434542 h 6858000"/>
              <a:gd name="connsiteX64" fmla="*/ 3662804 w 7088212"/>
              <a:gd name="connsiteY64" fmla="*/ 6858000 h 6858000"/>
              <a:gd name="connsiteX65" fmla="*/ 3399719 w 7088212"/>
              <a:gd name="connsiteY65" fmla="*/ 6858000 h 6858000"/>
              <a:gd name="connsiteX66" fmla="*/ 1731136 w 7088212"/>
              <a:gd name="connsiteY66" fmla="*/ 3434542 h 6858000"/>
              <a:gd name="connsiteX67" fmla="*/ 2965904 w 7088212"/>
              <a:gd name="connsiteY67" fmla="*/ 0 h 6858000"/>
              <a:gd name="connsiteX68" fmla="*/ 3196732 w 7088212"/>
              <a:gd name="connsiteY68" fmla="*/ 0 h 6858000"/>
              <a:gd name="connsiteX69" fmla="*/ 1531590 w 7088212"/>
              <a:gd name="connsiteY69" fmla="*/ 3434542 h 6858000"/>
              <a:gd name="connsiteX70" fmla="*/ 3200863 w 7088212"/>
              <a:gd name="connsiteY70" fmla="*/ 6858000 h 6858000"/>
              <a:gd name="connsiteX71" fmla="*/ 2969345 w 7088212"/>
              <a:gd name="connsiteY71" fmla="*/ 6858000 h 6858000"/>
              <a:gd name="connsiteX72" fmla="*/ 1300762 w 7088212"/>
              <a:gd name="connsiteY72" fmla="*/ 3434542 h 6858000"/>
              <a:gd name="connsiteX73" fmla="*/ 2506592 w 7088212"/>
              <a:gd name="connsiteY73" fmla="*/ 0 h 6858000"/>
              <a:gd name="connsiteX74" fmla="*/ 2690136 w 7088212"/>
              <a:gd name="connsiteY74" fmla="*/ 0 h 6858000"/>
              <a:gd name="connsiteX75" fmla="*/ 1025582 w 7088212"/>
              <a:gd name="connsiteY75" fmla="*/ 3434542 h 6858000"/>
              <a:gd name="connsiteX76" fmla="*/ 2694165 w 7088212"/>
              <a:gd name="connsiteY76" fmla="*/ 6858000 h 6858000"/>
              <a:gd name="connsiteX77" fmla="*/ 2510651 w 7088212"/>
              <a:gd name="connsiteY77" fmla="*/ 6858000 h 6858000"/>
              <a:gd name="connsiteX78" fmla="*/ 842068 w 7088212"/>
              <a:gd name="connsiteY78" fmla="*/ 3434542 h 6858000"/>
              <a:gd name="connsiteX79" fmla="*/ 859272 w 7088212"/>
              <a:gd name="connsiteY79" fmla="*/ 3398698 h 6858000"/>
              <a:gd name="connsiteX80" fmla="*/ 2066862 w 7088212"/>
              <a:gd name="connsiteY80" fmla="*/ 0 h 6858000"/>
              <a:gd name="connsiteX81" fmla="*/ 2178634 w 7088212"/>
              <a:gd name="connsiteY81" fmla="*/ 0 h 6858000"/>
              <a:gd name="connsiteX82" fmla="*/ 513490 w 7088212"/>
              <a:gd name="connsiteY82" fmla="*/ 3434542 h 6858000"/>
              <a:gd name="connsiteX83" fmla="*/ 2182763 w 7088212"/>
              <a:gd name="connsiteY83" fmla="*/ 6858000 h 6858000"/>
              <a:gd name="connsiteX84" fmla="*/ 2070961 w 7088212"/>
              <a:gd name="connsiteY84" fmla="*/ 6858000 h 6858000"/>
              <a:gd name="connsiteX85" fmla="*/ 402378 w 7088212"/>
              <a:gd name="connsiteY85" fmla="*/ 3434542 h 6858000"/>
              <a:gd name="connsiteX86" fmla="*/ 412414 w 7088212"/>
              <a:gd name="connsiteY86" fmla="*/ 3413036 h 6858000"/>
              <a:gd name="connsiteX87" fmla="*/ 1664655 w 7088212"/>
              <a:gd name="connsiteY87" fmla="*/ 0 h 6858000"/>
              <a:gd name="connsiteX88" fmla="*/ 1736238 w 7088212"/>
              <a:gd name="connsiteY88" fmla="*/ 0 h 6858000"/>
              <a:gd name="connsiteX89" fmla="*/ 71684 w 7088212"/>
              <a:gd name="connsiteY89" fmla="*/ 3434542 h 6858000"/>
              <a:gd name="connsiteX90" fmla="*/ 1740267 w 7088212"/>
              <a:gd name="connsiteY90" fmla="*/ 6858000 h 6858000"/>
              <a:gd name="connsiteX91" fmla="*/ 1668582 w 7088212"/>
              <a:gd name="connsiteY91" fmla="*/ 6858000 h 6858000"/>
              <a:gd name="connsiteX92" fmla="*/ 0 w 7088212"/>
              <a:gd name="connsiteY92" fmla="*/ 3434545 h 6858000"/>
              <a:gd name="connsiteX93" fmla="*/ 0 w 7088212"/>
              <a:gd name="connsiteY93" fmla="*/ 3434539 h 6858000"/>
              <a:gd name="connsiteX94" fmla="*/ 7167 w 7088212"/>
              <a:gd name="connsiteY94" fmla="*/ 34209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7088212" h="6858000">
                <a:moveTo>
                  <a:pt x="7088212" y="2316551"/>
                </a:moveTo>
                <a:lnTo>
                  <a:pt x="7088212" y="3270182"/>
                </a:lnTo>
                <a:lnTo>
                  <a:pt x="7088212" y="3597980"/>
                </a:lnTo>
                <a:lnTo>
                  <a:pt x="7088212" y="4546633"/>
                </a:lnTo>
                <a:lnTo>
                  <a:pt x="6546184" y="3434544"/>
                </a:lnTo>
                <a:close/>
                <a:moveTo>
                  <a:pt x="7088212" y="1297052"/>
                </a:moveTo>
                <a:lnTo>
                  <a:pt x="7088212" y="2251081"/>
                </a:lnTo>
                <a:lnTo>
                  <a:pt x="6514644" y="3434545"/>
                </a:lnTo>
                <a:lnTo>
                  <a:pt x="7088212" y="4611344"/>
                </a:lnTo>
                <a:lnTo>
                  <a:pt x="7088212" y="5559997"/>
                </a:lnTo>
                <a:lnTo>
                  <a:pt x="6052274" y="3434545"/>
                </a:lnTo>
                <a:close/>
                <a:moveTo>
                  <a:pt x="7088212" y="286451"/>
                </a:moveTo>
                <a:lnTo>
                  <a:pt x="7088212" y="1223092"/>
                </a:lnTo>
                <a:lnTo>
                  <a:pt x="6016431" y="3434543"/>
                </a:lnTo>
                <a:lnTo>
                  <a:pt x="7088212" y="5633535"/>
                </a:lnTo>
                <a:lnTo>
                  <a:pt x="7088212" y="6566009"/>
                </a:lnTo>
                <a:lnTo>
                  <a:pt x="5561946" y="3434543"/>
                </a:lnTo>
                <a:close/>
                <a:moveTo>
                  <a:pt x="6736761" y="1"/>
                </a:moveTo>
                <a:lnTo>
                  <a:pt x="7088212" y="1"/>
                </a:lnTo>
                <a:lnTo>
                  <a:pt x="7088212" y="195109"/>
                </a:lnTo>
                <a:lnTo>
                  <a:pt x="5518218" y="3434542"/>
                </a:lnTo>
                <a:lnTo>
                  <a:pt x="7088212" y="6655729"/>
                </a:lnTo>
                <a:lnTo>
                  <a:pt x="7088212" y="6858000"/>
                </a:lnTo>
                <a:lnTo>
                  <a:pt x="6740201" y="6858000"/>
                </a:lnTo>
                <a:lnTo>
                  <a:pt x="5071618" y="3434542"/>
                </a:lnTo>
                <a:close/>
                <a:moveTo>
                  <a:pt x="6238549" y="1"/>
                </a:moveTo>
                <a:lnTo>
                  <a:pt x="6692444" y="1"/>
                </a:lnTo>
                <a:lnTo>
                  <a:pt x="5027891" y="3434542"/>
                </a:lnTo>
                <a:lnTo>
                  <a:pt x="6696474" y="6858000"/>
                </a:lnTo>
                <a:lnTo>
                  <a:pt x="6241989" y="6858000"/>
                </a:lnTo>
                <a:lnTo>
                  <a:pt x="4573406" y="3434542"/>
                </a:lnTo>
                <a:close/>
                <a:moveTo>
                  <a:pt x="5748221" y="1"/>
                </a:moveTo>
                <a:lnTo>
                  <a:pt x="6194231" y="1"/>
                </a:lnTo>
                <a:lnTo>
                  <a:pt x="4529678" y="3434542"/>
                </a:lnTo>
                <a:lnTo>
                  <a:pt x="6198261" y="6858000"/>
                </a:lnTo>
                <a:lnTo>
                  <a:pt x="5751661" y="6858000"/>
                </a:lnTo>
                <a:lnTo>
                  <a:pt x="4083078" y="3434542"/>
                </a:lnTo>
                <a:close/>
                <a:moveTo>
                  <a:pt x="5257893" y="1"/>
                </a:moveTo>
                <a:lnTo>
                  <a:pt x="5696019" y="1"/>
                </a:lnTo>
                <a:lnTo>
                  <a:pt x="4031465" y="3434542"/>
                </a:lnTo>
                <a:lnTo>
                  <a:pt x="5700048" y="6858000"/>
                </a:lnTo>
                <a:lnTo>
                  <a:pt x="5261334" y="6858000"/>
                </a:lnTo>
                <a:lnTo>
                  <a:pt x="3592751" y="3434542"/>
                </a:lnTo>
                <a:close/>
                <a:moveTo>
                  <a:pt x="4787634" y="1"/>
                </a:moveTo>
                <a:lnTo>
                  <a:pt x="5178319" y="1"/>
                </a:lnTo>
                <a:lnTo>
                  <a:pt x="3513176" y="3434542"/>
                </a:lnTo>
                <a:lnTo>
                  <a:pt x="5182449" y="6858000"/>
                </a:lnTo>
                <a:lnTo>
                  <a:pt x="4791074" y="6858000"/>
                </a:lnTo>
                <a:lnTo>
                  <a:pt x="3122491" y="3434542"/>
                </a:lnTo>
                <a:close/>
                <a:moveTo>
                  <a:pt x="4309493" y="1"/>
                </a:moveTo>
                <a:lnTo>
                  <a:pt x="4668049" y="1"/>
                </a:lnTo>
                <a:lnTo>
                  <a:pt x="3003495" y="3434542"/>
                </a:lnTo>
                <a:lnTo>
                  <a:pt x="4672078" y="6858000"/>
                </a:lnTo>
                <a:lnTo>
                  <a:pt x="4312934" y="6858000"/>
                </a:lnTo>
                <a:lnTo>
                  <a:pt x="2644351" y="3434542"/>
                </a:lnTo>
                <a:close/>
                <a:moveTo>
                  <a:pt x="3827179" y="1"/>
                </a:moveTo>
                <a:lnTo>
                  <a:pt x="4161821" y="1"/>
                </a:lnTo>
                <a:lnTo>
                  <a:pt x="2496679" y="3434542"/>
                </a:lnTo>
                <a:lnTo>
                  <a:pt x="4165951" y="6858000"/>
                </a:lnTo>
                <a:lnTo>
                  <a:pt x="3831208" y="6858000"/>
                </a:lnTo>
                <a:lnTo>
                  <a:pt x="2162625" y="3434542"/>
                </a:lnTo>
                <a:close/>
                <a:moveTo>
                  <a:pt x="3396278" y="1"/>
                </a:moveTo>
                <a:lnTo>
                  <a:pt x="3658775" y="1"/>
                </a:lnTo>
                <a:lnTo>
                  <a:pt x="1994222" y="3434542"/>
                </a:lnTo>
                <a:lnTo>
                  <a:pt x="3662804" y="6858000"/>
                </a:lnTo>
                <a:lnTo>
                  <a:pt x="3399719" y="6858000"/>
                </a:lnTo>
                <a:lnTo>
                  <a:pt x="1731136" y="3434542"/>
                </a:lnTo>
                <a:close/>
                <a:moveTo>
                  <a:pt x="2965904" y="0"/>
                </a:moveTo>
                <a:lnTo>
                  <a:pt x="3196732" y="0"/>
                </a:lnTo>
                <a:lnTo>
                  <a:pt x="1531590" y="3434542"/>
                </a:lnTo>
                <a:lnTo>
                  <a:pt x="3200863" y="6858000"/>
                </a:lnTo>
                <a:lnTo>
                  <a:pt x="2969345" y="6858000"/>
                </a:lnTo>
                <a:lnTo>
                  <a:pt x="1300762" y="3434542"/>
                </a:lnTo>
                <a:close/>
                <a:moveTo>
                  <a:pt x="2506592" y="0"/>
                </a:moveTo>
                <a:lnTo>
                  <a:pt x="2690136" y="0"/>
                </a:lnTo>
                <a:lnTo>
                  <a:pt x="1025582" y="3434542"/>
                </a:lnTo>
                <a:lnTo>
                  <a:pt x="2694165" y="6858000"/>
                </a:lnTo>
                <a:lnTo>
                  <a:pt x="2510651" y="6858000"/>
                </a:lnTo>
                <a:lnTo>
                  <a:pt x="842068" y="3434542"/>
                </a:lnTo>
                <a:lnTo>
                  <a:pt x="859272" y="3398698"/>
                </a:lnTo>
                <a:close/>
                <a:moveTo>
                  <a:pt x="2066862" y="0"/>
                </a:moveTo>
                <a:lnTo>
                  <a:pt x="2178634" y="0"/>
                </a:lnTo>
                <a:lnTo>
                  <a:pt x="513490" y="3434542"/>
                </a:lnTo>
                <a:lnTo>
                  <a:pt x="2182763" y="6858000"/>
                </a:lnTo>
                <a:lnTo>
                  <a:pt x="2070961" y="6858000"/>
                </a:lnTo>
                <a:lnTo>
                  <a:pt x="402378" y="3434542"/>
                </a:lnTo>
                <a:lnTo>
                  <a:pt x="412414" y="3413036"/>
                </a:lnTo>
                <a:close/>
                <a:moveTo>
                  <a:pt x="1664655" y="0"/>
                </a:moveTo>
                <a:lnTo>
                  <a:pt x="1736238" y="0"/>
                </a:lnTo>
                <a:lnTo>
                  <a:pt x="71684" y="3434542"/>
                </a:lnTo>
                <a:lnTo>
                  <a:pt x="1740267" y="6858000"/>
                </a:lnTo>
                <a:lnTo>
                  <a:pt x="1668582" y="6858000"/>
                </a:lnTo>
                <a:lnTo>
                  <a:pt x="0" y="3434545"/>
                </a:lnTo>
                <a:lnTo>
                  <a:pt x="0" y="3434539"/>
                </a:lnTo>
                <a:lnTo>
                  <a:pt x="7167" y="3420921"/>
                </a:lnTo>
                <a:close/>
              </a:path>
            </a:pathLst>
          </a:custGeom>
          <a:solidFill>
            <a:schemeClr val="tx2"/>
          </a:solidFill>
          <a:effectLst/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>
                <a:solidFill>
                  <a:schemeClr val="bg1"/>
                </a:solidFill>
              </a:defRPr>
            </a:lvl1pPr>
          </a:lstStyle>
          <a:p>
            <a:pPr marL="146300" lvl="0" indent="-146300" algn="ctr"/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41296383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- Inse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5709" y="1189821"/>
            <a:ext cx="4319999" cy="2650659"/>
          </a:xfrm>
        </p:spPr>
        <p:txBody>
          <a:bodyPr anchor="b" anchorCtr="0">
            <a:normAutofit/>
          </a:bodyPr>
          <a:lstStyle>
            <a:lvl1pPr algn="l">
              <a:lnSpc>
                <a:spcPct val="80000"/>
              </a:lnSpc>
              <a:defRPr sz="3600">
                <a:solidFill>
                  <a:schemeClr val="tx2"/>
                </a:solidFill>
                <a:effectLst/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IDEMIA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5707" y="4102388"/>
            <a:ext cx="4320000" cy="1440000"/>
          </a:xfrm>
          <a:noFill/>
          <a:effectLst/>
        </p:spPr>
        <p:txBody>
          <a:bodyPr vert="horz" lIns="0" tIns="0" rIns="0" bIns="0" rtlCol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US" sz="2000" b="0" i="0" dirty="0">
                <a:solidFill>
                  <a:schemeClr val="tx1"/>
                </a:solidFill>
              </a:defRPr>
            </a:lvl1pPr>
          </a:lstStyle>
          <a:p>
            <a:pPr marL="146300" lvl="0" indent="-146300">
              <a:spcBef>
                <a:spcPts val="0"/>
              </a:spcBef>
              <a:spcAft>
                <a:spcPts val="800"/>
              </a:spcAft>
            </a:pPr>
            <a:r>
              <a:rPr lang="en-US" dirty="0"/>
              <a:t>Insert subtitle here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35708" y="6375123"/>
            <a:ext cx="2328672" cy="20512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l">
              <a:defRPr lang="en-US" sz="1333" b="0" smtClean="0">
                <a:solidFill>
                  <a:srgbClr val="768A9A"/>
                </a:solidFill>
                <a:latin typeface="Arial"/>
              </a:defRPr>
            </a:lvl1pPr>
          </a:lstStyle>
          <a:p>
            <a:pPr defTabSz="914377"/>
            <a:fld id="{16F4E285-2B7E-4CFC-963A-060D19EDE837}" type="datetime1">
              <a:rPr lang="en-US" smtClean="0"/>
              <a:t>2/17/2023</a:t>
            </a:fld>
            <a:endParaRPr lang="en-US" dirty="0"/>
          </a:p>
        </p:txBody>
      </p:sp>
      <p:grpSp>
        <p:nvGrpSpPr>
          <p:cNvPr id="131" name="Group 6">
            <a:extLst>
              <a:ext uri="{FF2B5EF4-FFF2-40B4-BE49-F238E27FC236}">
                <a16:creationId xmlns:a16="http://schemas.microsoft.com/office/drawing/2014/main" id="{2F2C2701-CCA7-4290-81A8-F02B34EFCE7C}"/>
              </a:ext>
            </a:extLst>
          </p:cNvPr>
          <p:cNvGrpSpPr/>
          <p:nvPr/>
        </p:nvGrpSpPr>
        <p:grpSpPr bwMode="black">
          <a:xfrm>
            <a:off x="635708" y="622301"/>
            <a:ext cx="911669" cy="230212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CC2EE4D3-0CE7-4A96-B4BE-7F5CD5FA3ACB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 6">
              <a:extLst>
                <a:ext uri="{FF2B5EF4-FFF2-40B4-BE49-F238E27FC236}">
                  <a16:creationId xmlns:a16="http://schemas.microsoft.com/office/drawing/2014/main" id="{8A1F9E01-43DB-4F91-AF8C-6E73E0130DE4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 7">
              <a:extLst>
                <a:ext uri="{FF2B5EF4-FFF2-40B4-BE49-F238E27FC236}">
                  <a16:creationId xmlns:a16="http://schemas.microsoft.com/office/drawing/2014/main" id="{FA04AF4E-0CEF-4BBE-95C3-3D2C8577AA9C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Freeform 8">
              <a:extLst>
                <a:ext uri="{FF2B5EF4-FFF2-40B4-BE49-F238E27FC236}">
                  <a16:creationId xmlns:a16="http://schemas.microsoft.com/office/drawing/2014/main" id="{7919488A-9DB6-48AC-A14D-E639BE5F6A9D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 9">
              <a:extLst>
                <a:ext uri="{FF2B5EF4-FFF2-40B4-BE49-F238E27FC236}">
                  <a16:creationId xmlns:a16="http://schemas.microsoft.com/office/drawing/2014/main" id="{4710171C-5150-4A9D-8099-BF9696999E0F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8" name="Espace réservé pour une image  15">
            <a:extLst>
              <a:ext uri="{FF2B5EF4-FFF2-40B4-BE49-F238E27FC236}">
                <a16:creationId xmlns:a16="http://schemas.microsoft.com/office/drawing/2014/main" id="{5A59900C-B4E4-41BA-A7AA-B02AD4BAD6C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103788" y="0"/>
            <a:ext cx="7088212" cy="6858000"/>
          </a:xfrm>
          <a:custGeom>
            <a:avLst/>
            <a:gdLst>
              <a:gd name="connsiteX0" fmla="*/ 7088212 w 7088212"/>
              <a:gd name="connsiteY0" fmla="*/ 2316551 h 6858000"/>
              <a:gd name="connsiteX1" fmla="*/ 7088212 w 7088212"/>
              <a:gd name="connsiteY1" fmla="*/ 3270182 h 6858000"/>
              <a:gd name="connsiteX2" fmla="*/ 7088212 w 7088212"/>
              <a:gd name="connsiteY2" fmla="*/ 3597980 h 6858000"/>
              <a:gd name="connsiteX3" fmla="*/ 7088212 w 7088212"/>
              <a:gd name="connsiteY3" fmla="*/ 4546633 h 6858000"/>
              <a:gd name="connsiteX4" fmla="*/ 6546184 w 7088212"/>
              <a:gd name="connsiteY4" fmla="*/ 3434544 h 6858000"/>
              <a:gd name="connsiteX5" fmla="*/ 7088212 w 7088212"/>
              <a:gd name="connsiteY5" fmla="*/ 1297052 h 6858000"/>
              <a:gd name="connsiteX6" fmla="*/ 7088212 w 7088212"/>
              <a:gd name="connsiteY6" fmla="*/ 2251081 h 6858000"/>
              <a:gd name="connsiteX7" fmla="*/ 6514644 w 7088212"/>
              <a:gd name="connsiteY7" fmla="*/ 3434545 h 6858000"/>
              <a:gd name="connsiteX8" fmla="*/ 7088212 w 7088212"/>
              <a:gd name="connsiteY8" fmla="*/ 4611344 h 6858000"/>
              <a:gd name="connsiteX9" fmla="*/ 7088212 w 7088212"/>
              <a:gd name="connsiteY9" fmla="*/ 5559997 h 6858000"/>
              <a:gd name="connsiteX10" fmla="*/ 6052274 w 7088212"/>
              <a:gd name="connsiteY10" fmla="*/ 3434545 h 6858000"/>
              <a:gd name="connsiteX11" fmla="*/ 7088212 w 7088212"/>
              <a:gd name="connsiteY11" fmla="*/ 286451 h 6858000"/>
              <a:gd name="connsiteX12" fmla="*/ 7088212 w 7088212"/>
              <a:gd name="connsiteY12" fmla="*/ 1223092 h 6858000"/>
              <a:gd name="connsiteX13" fmla="*/ 6016431 w 7088212"/>
              <a:gd name="connsiteY13" fmla="*/ 3434543 h 6858000"/>
              <a:gd name="connsiteX14" fmla="*/ 7088212 w 7088212"/>
              <a:gd name="connsiteY14" fmla="*/ 5633535 h 6858000"/>
              <a:gd name="connsiteX15" fmla="*/ 7088212 w 7088212"/>
              <a:gd name="connsiteY15" fmla="*/ 6566009 h 6858000"/>
              <a:gd name="connsiteX16" fmla="*/ 5561946 w 7088212"/>
              <a:gd name="connsiteY16" fmla="*/ 3434543 h 6858000"/>
              <a:gd name="connsiteX17" fmla="*/ 6736761 w 7088212"/>
              <a:gd name="connsiteY17" fmla="*/ 1 h 6858000"/>
              <a:gd name="connsiteX18" fmla="*/ 7088212 w 7088212"/>
              <a:gd name="connsiteY18" fmla="*/ 1 h 6858000"/>
              <a:gd name="connsiteX19" fmla="*/ 7088212 w 7088212"/>
              <a:gd name="connsiteY19" fmla="*/ 195109 h 6858000"/>
              <a:gd name="connsiteX20" fmla="*/ 5518218 w 7088212"/>
              <a:gd name="connsiteY20" fmla="*/ 3434542 h 6858000"/>
              <a:gd name="connsiteX21" fmla="*/ 7088212 w 7088212"/>
              <a:gd name="connsiteY21" fmla="*/ 6655729 h 6858000"/>
              <a:gd name="connsiteX22" fmla="*/ 7088212 w 7088212"/>
              <a:gd name="connsiteY22" fmla="*/ 6858000 h 6858000"/>
              <a:gd name="connsiteX23" fmla="*/ 6740201 w 7088212"/>
              <a:gd name="connsiteY23" fmla="*/ 6858000 h 6858000"/>
              <a:gd name="connsiteX24" fmla="*/ 5071618 w 7088212"/>
              <a:gd name="connsiteY24" fmla="*/ 3434542 h 6858000"/>
              <a:gd name="connsiteX25" fmla="*/ 6238549 w 7088212"/>
              <a:gd name="connsiteY25" fmla="*/ 1 h 6858000"/>
              <a:gd name="connsiteX26" fmla="*/ 6692444 w 7088212"/>
              <a:gd name="connsiteY26" fmla="*/ 1 h 6858000"/>
              <a:gd name="connsiteX27" fmla="*/ 5027891 w 7088212"/>
              <a:gd name="connsiteY27" fmla="*/ 3434542 h 6858000"/>
              <a:gd name="connsiteX28" fmla="*/ 6696474 w 7088212"/>
              <a:gd name="connsiteY28" fmla="*/ 6858000 h 6858000"/>
              <a:gd name="connsiteX29" fmla="*/ 6241989 w 7088212"/>
              <a:gd name="connsiteY29" fmla="*/ 6858000 h 6858000"/>
              <a:gd name="connsiteX30" fmla="*/ 4573406 w 7088212"/>
              <a:gd name="connsiteY30" fmla="*/ 3434542 h 6858000"/>
              <a:gd name="connsiteX31" fmla="*/ 5748221 w 7088212"/>
              <a:gd name="connsiteY31" fmla="*/ 1 h 6858000"/>
              <a:gd name="connsiteX32" fmla="*/ 6194231 w 7088212"/>
              <a:gd name="connsiteY32" fmla="*/ 1 h 6858000"/>
              <a:gd name="connsiteX33" fmla="*/ 4529678 w 7088212"/>
              <a:gd name="connsiteY33" fmla="*/ 3434542 h 6858000"/>
              <a:gd name="connsiteX34" fmla="*/ 6198261 w 7088212"/>
              <a:gd name="connsiteY34" fmla="*/ 6858000 h 6858000"/>
              <a:gd name="connsiteX35" fmla="*/ 5751661 w 7088212"/>
              <a:gd name="connsiteY35" fmla="*/ 6858000 h 6858000"/>
              <a:gd name="connsiteX36" fmla="*/ 4083078 w 7088212"/>
              <a:gd name="connsiteY36" fmla="*/ 3434542 h 6858000"/>
              <a:gd name="connsiteX37" fmla="*/ 5257893 w 7088212"/>
              <a:gd name="connsiteY37" fmla="*/ 1 h 6858000"/>
              <a:gd name="connsiteX38" fmla="*/ 5696019 w 7088212"/>
              <a:gd name="connsiteY38" fmla="*/ 1 h 6858000"/>
              <a:gd name="connsiteX39" fmla="*/ 4031465 w 7088212"/>
              <a:gd name="connsiteY39" fmla="*/ 3434542 h 6858000"/>
              <a:gd name="connsiteX40" fmla="*/ 5700048 w 7088212"/>
              <a:gd name="connsiteY40" fmla="*/ 6858000 h 6858000"/>
              <a:gd name="connsiteX41" fmla="*/ 5261334 w 7088212"/>
              <a:gd name="connsiteY41" fmla="*/ 6858000 h 6858000"/>
              <a:gd name="connsiteX42" fmla="*/ 3592751 w 7088212"/>
              <a:gd name="connsiteY42" fmla="*/ 3434542 h 6858000"/>
              <a:gd name="connsiteX43" fmla="*/ 4787634 w 7088212"/>
              <a:gd name="connsiteY43" fmla="*/ 1 h 6858000"/>
              <a:gd name="connsiteX44" fmla="*/ 5178319 w 7088212"/>
              <a:gd name="connsiteY44" fmla="*/ 1 h 6858000"/>
              <a:gd name="connsiteX45" fmla="*/ 3513176 w 7088212"/>
              <a:gd name="connsiteY45" fmla="*/ 3434542 h 6858000"/>
              <a:gd name="connsiteX46" fmla="*/ 5182449 w 7088212"/>
              <a:gd name="connsiteY46" fmla="*/ 6858000 h 6858000"/>
              <a:gd name="connsiteX47" fmla="*/ 4791074 w 7088212"/>
              <a:gd name="connsiteY47" fmla="*/ 6858000 h 6858000"/>
              <a:gd name="connsiteX48" fmla="*/ 3122491 w 7088212"/>
              <a:gd name="connsiteY48" fmla="*/ 3434542 h 6858000"/>
              <a:gd name="connsiteX49" fmla="*/ 4309493 w 7088212"/>
              <a:gd name="connsiteY49" fmla="*/ 1 h 6858000"/>
              <a:gd name="connsiteX50" fmla="*/ 4668049 w 7088212"/>
              <a:gd name="connsiteY50" fmla="*/ 1 h 6858000"/>
              <a:gd name="connsiteX51" fmla="*/ 3003495 w 7088212"/>
              <a:gd name="connsiteY51" fmla="*/ 3434542 h 6858000"/>
              <a:gd name="connsiteX52" fmla="*/ 4672078 w 7088212"/>
              <a:gd name="connsiteY52" fmla="*/ 6858000 h 6858000"/>
              <a:gd name="connsiteX53" fmla="*/ 4312934 w 7088212"/>
              <a:gd name="connsiteY53" fmla="*/ 6858000 h 6858000"/>
              <a:gd name="connsiteX54" fmla="*/ 2644351 w 7088212"/>
              <a:gd name="connsiteY54" fmla="*/ 3434542 h 6858000"/>
              <a:gd name="connsiteX55" fmla="*/ 3827179 w 7088212"/>
              <a:gd name="connsiteY55" fmla="*/ 1 h 6858000"/>
              <a:gd name="connsiteX56" fmla="*/ 4161821 w 7088212"/>
              <a:gd name="connsiteY56" fmla="*/ 1 h 6858000"/>
              <a:gd name="connsiteX57" fmla="*/ 2496679 w 7088212"/>
              <a:gd name="connsiteY57" fmla="*/ 3434542 h 6858000"/>
              <a:gd name="connsiteX58" fmla="*/ 4165951 w 7088212"/>
              <a:gd name="connsiteY58" fmla="*/ 6858000 h 6858000"/>
              <a:gd name="connsiteX59" fmla="*/ 3831208 w 7088212"/>
              <a:gd name="connsiteY59" fmla="*/ 6858000 h 6858000"/>
              <a:gd name="connsiteX60" fmla="*/ 2162625 w 7088212"/>
              <a:gd name="connsiteY60" fmla="*/ 3434542 h 6858000"/>
              <a:gd name="connsiteX61" fmla="*/ 3396278 w 7088212"/>
              <a:gd name="connsiteY61" fmla="*/ 1 h 6858000"/>
              <a:gd name="connsiteX62" fmla="*/ 3658775 w 7088212"/>
              <a:gd name="connsiteY62" fmla="*/ 1 h 6858000"/>
              <a:gd name="connsiteX63" fmla="*/ 1994222 w 7088212"/>
              <a:gd name="connsiteY63" fmla="*/ 3434542 h 6858000"/>
              <a:gd name="connsiteX64" fmla="*/ 3662804 w 7088212"/>
              <a:gd name="connsiteY64" fmla="*/ 6858000 h 6858000"/>
              <a:gd name="connsiteX65" fmla="*/ 3399719 w 7088212"/>
              <a:gd name="connsiteY65" fmla="*/ 6858000 h 6858000"/>
              <a:gd name="connsiteX66" fmla="*/ 1731136 w 7088212"/>
              <a:gd name="connsiteY66" fmla="*/ 3434542 h 6858000"/>
              <a:gd name="connsiteX67" fmla="*/ 2965904 w 7088212"/>
              <a:gd name="connsiteY67" fmla="*/ 0 h 6858000"/>
              <a:gd name="connsiteX68" fmla="*/ 3196732 w 7088212"/>
              <a:gd name="connsiteY68" fmla="*/ 0 h 6858000"/>
              <a:gd name="connsiteX69" fmla="*/ 1531590 w 7088212"/>
              <a:gd name="connsiteY69" fmla="*/ 3434542 h 6858000"/>
              <a:gd name="connsiteX70" fmla="*/ 3200863 w 7088212"/>
              <a:gd name="connsiteY70" fmla="*/ 6858000 h 6858000"/>
              <a:gd name="connsiteX71" fmla="*/ 2969345 w 7088212"/>
              <a:gd name="connsiteY71" fmla="*/ 6858000 h 6858000"/>
              <a:gd name="connsiteX72" fmla="*/ 1300762 w 7088212"/>
              <a:gd name="connsiteY72" fmla="*/ 3434542 h 6858000"/>
              <a:gd name="connsiteX73" fmla="*/ 2506592 w 7088212"/>
              <a:gd name="connsiteY73" fmla="*/ 0 h 6858000"/>
              <a:gd name="connsiteX74" fmla="*/ 2690136 w 7088212"/>
              <a:gd name="connsiteY74" fmla="*/ 0 h 6858000"/>
              <a:gd name="connsiteX75" fmla="*/ 1025582 w 7088212"/>
              <a:gd name="connsiteY75" fmla="*/ 3434542 h 6858000"/>
              <a:gd name="connsiteX76" fmla="*/ 2694165 w 7088212"/>
              <a:gd name="connsiteY76" fmla="*/ 6858000 h 6858000"/>
              <a:gd name="connsiteX77" fmla="*/ 2510651 w 7088212"/>
              <a:gd name="connsiteY77" fmla="*/ 6858000 h 6858000"/>
              <a:gd name="connsiteX78" fmla="*/ 842068 w 7088212"/>
              <a:gd name="connsiteY78" fmla="*/ 3434542 h 6858000"/>
              <a:gd name="connsiteX79" fmla="*/ 859272 w 7088212"/>
              <a:gd name="connsiteY79" fmla="*/ 3398698 h 6858000"/>
              <a:gd name="connsiteX80" fmla="*/ 2066862 w 7088212"/>
              <a:gd name="connsiteY80" fmla="*/ 0 h 6858000"/>
              <a:gd name="connsiteX81" fmla="*/ 2178634 w 7088212"/>
              <a:gd name="connsiteY81" fmla="*/ 0 h 6858000"/>
              <a:gd name="connsiteX82" fmla="*/ 513490 w 7088212"/>
              <a:gd name="connsiteY82" fmla="*/ 3434542 h 6858000"/>
              <a:gd name="connsiteX83" fmla="*/ 2182763 w 7088212"/>
              <a:gd name="connsiteY83" fmla="*/ 6858000 h 6858000"/>
              <a:gd name="connsiteX84" fmla="*/ 2070961 w 7088212"/>
              <a:gd name="connsiteY84" fmla="*/ 6858000 h 6858000"/>
              <a:gd name="connsiteX85" fmla="*/ 402378 w 7088212"/>
              <a:gd name="connsiteY85" fmla="*/ 3434542 h 6858000"/>
              <a:gd name="connsiteX86" fmla="*/ 412414 w 7088212"/>
              <a:gd name="connsiteY86" fmla="*/ 3413036 h 6858000"/>
              <a:gd name="connsiteX87" fmla="*/ 1664655 w 7088212"/>
              <a:gd name="connsiteY87" fmla="*/ 0 h 6858000"/>
              <a:gd name="connsiteX88" fmla="*/ 1736238 w 7088212"/>
              <a:gd name="connsiteY88" fmla="*/ 0 h 6858000"/>
              <a:gd name="connsiteX89" fmla="*/ 71684 w 7088212"/>
              <a:gd name="connsiteY89" fmla="*/ 3434542 h 6858000"/>
              <a:gd name="connsiteX90" fmla="*/ 1740267 w 7088212"/>
              <a:gd name="connsiteY90" fmla="*/ 6858000 h 6858000"/>
              <a:gd name="connsiteX91" fmla="*/ 1668582 w 7088212"/>
              <a:gd name="connsiteY91" fmla="*/ 6858000 h 6858000"/>
              <a:gd name="connsiteX92" fmla="*/ 0 w 7088212"/>
              <a:gd name="connsiteY92" fmla="*/ 3434545 h 6858000"/>
              <a:gd name="connsiteX93" fmla="*/ 0 w 7088212"/>
              <a:gd name="connsiteY93" fmla="*/ 3434539 h 6858000"/>
              <a:gd name="connsiteX94" fmla="*/ 7167 w 7088212"/>
              <a:gd name="connsiteY94" fmla="*/ 34209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7088212" h="6858000">
                <a:moveTo>
                  <a:pt x="7088212" y="2316551"/>
                </a:moveTo>
                <a:lnTo>
                  <a:pt x="7088212" y="3270182"/>
                </a:lnTo>
                <a:lnTo>
                  <a:pt x="7088212" y="3597980"/>
                </a:lnTo>
                <a:lnTo>
                  <a:pt x="7088212" y="4546633"/>
                </a:lnTo>
                <a:lnTo>
                  <a:pt x="6546184" y="3434544"/>
                </a:lnTo>
                <a:close/>
                <a:moveTo>
                  <a:pt x="7088212" y="1297052"/>
                </a:moveTo>
                <a:lnTo>
                  <a:pt x="7088212" y="2251081"/>
                </a:lnTo>
                <a:lnTo>
                  <a:pt x="6514644" y="3434545"/>
                </a:lnTo>
                <a:lnTo>
                  <a:pt x="7088212" y="4611344"/>
                </a:lnTo>
                <a:lnTo>
                  <a:pt x="7088212" y="5559997"/>
                </a:lnTo>
                <a:lnTo>
                  <a:pt x="6052274" y="3434545"/>
                </a:lnTo>
                <a:close/>
                <a:moveTo>
                  <a:pt x="7088212" y="286451"/>
                </a:moveTo>
                <a:lnTo>
                  <a:pt x="7088212" y="1223092"/>
                </a:lnTo>
                <a:lnTo>
                  <a:pt x="6016431" y="3434543"/>
                </a:lnTo>
                <a:lnTo>
                  <a:pt x="7088212" y="5633535"/>
                </a:lnTo>
                <a:lnTo>
                  <a:pt x="7088212" y="6566009"/>
                </a:lnTo>
                <a:lnTo>
                  <a:pt x="5561946" y="3434543"/>
                </a:lnTo>
                <a:close/>
                <a:moveTo>
                  <a:pt x="6736761" y="1"/>
                </a:moveTo>
                <a:lnTo>
                  <a:pt x="7088212" y="1"/>
                </a:lnTo>
                <a:lnTo>
                  <a:pt x="7088212" y="195109"/>
                </a:lnTo>
                <a:lnTo>
                  <a:pt x="5518218" y="3434542"/>
                </a:lnTo>
                <a:lnTo>
                  <a:pt x="7088212" y="6655729"/>
                </a:lnTo>
                <a:lnTo>
                  <a:pt x="7088212" y="6858000"/>
                </a:lnTo>
                <a:lnTo>
                  <a:pt x="6740201" y="6858000"/>
                </a:lnTo>
                <a:lnTo>
                  <a:pt x="5071618" y="3434542"/>
                </a:lnTo>
                <a:close/>
                <a:moveTo>
                  <a:pt x="6238549" y="1"/>
                </a:moveTo>
                <a:lnTo>
                  <a:pt x="6692444" y="1"/>
                </a:lnTo>
                <a:lnTo>
                  <a:pt x="5027891" y="3434542"/>
                </a:lnTo>
                <a:lnTo>
                  <a:pt x="6696474" y="6858000"/>
                </a:lnTo>
                <a:lnTo>
                  <a:pt x="6241989" y="6858000"/>
                </a:lnTo>
                <a:lnTo>
                  <a:pt x="4573406" y="3434542"/>
                </a:lnTo>
                <a:close/>
                <a:moveTo>
                  <a:pt x="5748221" y="1"/>
                </a:moveTo>
                <a:lnTo>
                  <a:pt x="6194231" y="1"/>
                </a:lnTo>
                <a:lnTo>
                  <a:pt x="4529678" y="3434542"/>
                </a:lnTo>
                <a:lnTo>
                  <a:pt x="6198261" y="6858000"/>
                </a:lnTo>
                <a:lnTo>
                  <a:pt x="5751661" y="6858000"/>
                </a:lnTo>
                <a:lnTo>
                  <a:pt x="4083078" y="3434542"/>
                </a:lnTo>
                <a:close/>
                <a:moveTo>
                  <a:pt x="5257893" y="1"/>
                </a:moveTo>
                <a:lnTo>
                  <a:pt x="5696019" y="1"/>
                </a:lnTo>
                <a:lnTo>
                  <a:pt x="4031465" y="3434542"/>
                </a:lnTo>
                <a:lnTo>
                  <a:pt x="5700048" y="6858000"/>
                </a:lnTo>
                <a:lnTo>
                  <a:pt x="5261334" y="6858000"/>
                </a:lnTo>
                <a:lnTo>
                  <a:pt x="3592751" y="3434542"/>
                </a:lnTo>
                <a:close/>
                <a:moveTo>
                  <a:pt x="4787634" y="1"/>
                </a:moveTo>
                <a:lnTo>
                  <a:pt x="5178319" y="1"/>
                </a:lnTo>
                <a:lnTo>
                  <a:pt x="3513176" y="3434542"/>
                </a:lnTo>
                <a:lnTo>
                  <a:pt x="5182449" y="6858000"/>
                </a:lnTo>
                <a:lnTo>
                  <a:pt x="4791074" y="6858000"/>
                </a:lnTo>
                <a:lnTo>
                  <a:pt x="3122491" y="3434542"/>
                </a:lnTo>
                <a:close/>
                <a:moveTo>
                  <a:pt x="4309493" y="1"/>
                </a:moveTo>
                <a:lnTo>
                  <a:pt x="4668049" y="1"/>
                </a:lnTo>
                <a:lnTo>
                  <a:pt x="3003495" y="3434542"/>
                </a:lnTo>
                <a:lnTo>
                  <a:pt x="4672078" y="6858000"/>
                </a:lnTo>
                <a:lnTo>
                  <a:pt x="4312934" y="6858000"/>
                </a:lnTo>
                <a:lnTo>
                  <a:pt x="2644351" y="3434542"/>
                </a:lnTo>
                <a:close/>
                <a:moveTo>
                  <a:pt x="3827179" y="1"/>
                </a:moveTo>
                <a:lnTo>
                  <a:pt x="4161821" y="1"/>
                </a:lnTo>
                <a:lnTo>
                  <a:pt x="2496679" y="3434542"/>
                </a:lnTo>
                <a:lnTo>
                  <a:pt x="4165951" y="6858000"/>
                </a:lnTo>
                <a:lnTo>
                  <a:pt x="3831208" y="6858000"/>
                </a:lnTo>
                <a:lnTo>
                  <a:pt x="2162625" y="3434542"/>
                </a:lnTo>
                <a:close/>
                <a:moveTo>
                  <a:pt x="3396278" y="1"/>
                </a:moveTo>
                <a:lnTo>
                  <a:pt x="3658775" y="1"/>
                </a:lnTo>
                <a:lnTo>
                  <a:pt x="1994222" y="3434542"/>
                </a:lnTo>
                <a:lnTo>
                  <a:pt x="3662804" y="6858000"/>
                </a:lnTo>
                <a:lnTo>
                  <a:pt x="3399719" y="6858000"/>
                </a:lnTo>
                <a:lnTo>
                  <a:pt x="1731136" y="3434542"/>
                </a:lnTo>
                <a:close/>
                <a:moveTo>
                  <a:pt x="2965904" y="0"/>
                </a:moveTo>
                <a:lnTo>
                  <a:pt x="3196732" y="0"/>
                </a:lnTo>
                <a:lnTo>
                  <a:pt x="1531590" y="3434542"/>
                </a:lnTo>
                <a:lnTo>
                  <a:pt x="3200863" y="6858000"/>
                </a:lnTo>
                <a:lnTo>
                  <a:pt x="2969345" y="6858000"/>
                </a:lnTo>
                <a:lnTo>
                  <a:pt x="1300762" y="3434542"/>
                </a:lnTo>
                <a:close/>
                <a:moveTo>
                  <a:pt x="2506592" y="0"/>
                </a:moveTo>
                <a:lnTo>
                  <a:pt x="2690136" y="0"/>
                </a:lnTo>
                <a:lnTo>
                  <a:pt x="1025582" y="3434542"/>
                </a:lnTo>
                <a:lnTo>
                  <a:pt x="2694165" y="6858000"/>
                </a:lnTo>
                <a:lnTo>
                  <a:pt x="2510651" y="6858000"/>
                </a:lnTo>
                <a:lnTo>
                  <a:pt x="842068" y="3434542"/>
                </a:lnTo>
                <a:lnTo>
                  <a:pt x="859272" y="3398698"/>
                </a:lnTo>
                <a:close/>
                <a:moveTo>
                  <a:pt x="2066862" y="0"/>
                </a:moveTo>
                <a:lnTo>
                  <a:pt x="2178634" y="0"/>
                </a:lnTo>
                <a:lnTo>
                  <a:pt x="513490" y="3434542"/>
                </a:lnTo>
                <a:lnTo>
                  <a:pt x="2182763" y="6858000"/>
                </a:lnTo>
                <a:lnTo>
                  <a:pt x="2070961" y="6858000"/>
                </a:lnTo>
                <a:lnTo>
                  <a:pt x="402378" y="3434542"/>
                </a:lnTo>
                <a:lnTo>
                  <a:pt x="412414" y="3413036"/>
                </a:lnTo>
                <a:close/>
                <a:moveTo>
                  <a:pt x="1664655" y="0"/>
                </a:moveTo>
                <a:lnTo>
                  <a:pt x="1736238" y="0"/>
                </a:lnTo>
                <a:lnTo>
                  <a:pt x="71684" y="3434542"/>
                </a:lnTo>
                <a:lnTo>
                  <a:pt x="1740267" y="6858000"/>
                </a:lnTo>
                <a:lnTo>
                  <a:pt x="1668582" y="6858000"/>
                </a:lnTo>
                <a:lnTo>
                  <a:pt x="0" y="3434545"/>
                </a:lnTo>
                <a:lnTo>
                  <a:pt x="0" y="3434539"/>
                </a:lnTo>
                <a:lnTo>
                  <a:pt x="7167" y="3420921"/>
                </a:lnTo>
                <a:close/>
              </a:path>
            </a:pathLst>
          </a:custGeom>
          <a:solidFill>
            <a:schemeClr val="tx2"/>
          </a:solidFill>
          <a:effectLst/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>
                <a:solidFill>
                  <a:schemeClr val="bg1"/>
                </a:solidFill>
              </a:defRPr>
            </a:lvl1pPr>
          </a:lstStyle>
          <a:p>
            <a:pPr marL="146300" lvl="0" indent="-146300" algn="ctr"/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831789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6.25E-7 4.44444E-6 L 6.25E-7 0.05162 " pathEditMode="relative" rAng="0" ptsTypes="AA">
                                      <p:cBhvr>
                                        <p:cTn id="15" dur="750" spd="-100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69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  <p:bldP spid="3" grpId="1" build="p"/>
      <p:bldP spid="4" grpId="0"/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E59EF632-3D4F-4945-900D-D4D867CF7E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03788" y="0"/>
            <a:ext cx="7088212" cy="6858000"/>
          </a:xfrm>
          <a:custGeom>
            <a:avLst/>
            <a:gdLst>
              <a:gd name="connsiteX0" fmla="*/ 7088212 w 7088212"/>
              <a:gd name="connsiteY0" fmla="*/ 2316551 h 6858000"/>
              <a:gd name="connsiteX1" fmla="*/ 7088212 w 7088212"/>
              <a:gd name="connsiteY1" fmla="*/ 3270182 h 6858000"/>
              <a:gd name="connsiteX2" fmla="*/ 7088212 w 7088212"/>
              <a:gd name="connsiteY2" fmla="*/ 3597980 h 6858000"/>
              <a:gd name="connsiteX3" fmla="*/ 7088212 w 7088212"/>
              <a:gd name="connsiteY3" fmla="*/ 4546633 h 6858000"/>
              <a:gd name="connsiteX4" fmla="*/ 6546184 w 7088212"/>
              <a:gd name="connsiteY4" fmla="*/ 3434544 h 6858000"/>
              <a:gd name="connsiteX5" fmla="*/ 7088212 w 7088212"/>
              <a:gd name="connsiteY5" fmla="*/ 1297052 h 6858000"/>
              <a:gd name="connsiteX6" fmla="*/ 7088212 w 7088212"/>
              <a:gd name="connsiteY6" fmla="*/ 2251081 h 6858000"/>
              <a:gd name="connsiteX7" fmla="*/ 6514644 w 7088212"/>
              <a:gd name="connsiteY7" fmla="*/ 3434545 h 6858000"/>
              <a:gd name="connsiteX8" fmla="*/ 7088212 w 7088212"/>
              <a:gd name="connsiteY8" fmla="*/ 4611344 h 6858000"/>
              <a:gd name="connsiteX9" fmla="*/ 7088212 w 7088212"/>
              <a:gd name="connsiteY9" fmla="*/ 5559997 h 6858000"/>
              <a:gd name="connsiteX10" fmla="*/ 6052274 w 7088212"/>
              <a:gd name="connsiteY10" fmla="*/ 3434545 h 6858000"/>
              <a:gd name="connsiteX11" fmla="*/ 7088212 w 7088212"/>
              <a:gd name="connsiteY11" fmla="*/ 286451 h 6858000"/>
              <a:gd name="connsiteX12" fmla="*/ 7088212 w 7088212"/>
              <a:gd name="connsiteY12" fmla="*/ 1223092 h 6858000"/>
              <a:gd name="connsiteX13" fmla="*/ 6016431 w 7088212"/>
              <a:gd name="connsiteY13" fmla="*/ 3434543 h 6858000"/>
              <a:gd name="connsiteX14" fmla="*/ 7088212 w 7088212"/>
              <a:gd name="connsiteY14" fmla="*/ 5633535 h 6858000"/>
              <a:gd name="connsiteX15" fmla="*/ 7088212 w 7088212"/>
              <a:gd name="connsiteY15" fmla="*/ 6566009 h 6858000"/>
              <a:gd name="connsiteX16" fmla="*/ 5561946 w 7088212"/>
              <a:gd name="connsiteY16" fmla="*/ 3434543 h 6858000"/>
              <a:gd name="connsiteX17" fmla="*/ 6736761 w 7088212"/>
              <a:gd name="connsiteY17" fmla="*/ 1 h 6858000"/>
              <a:gd name="connsiteX18" fmla="*/ 7088212 w 7088212"/>
              <a:gd name="connsiteY18" fmla="*/ 1 h 6858000"/>
              <a:gd name="connsiteX19" fmla="*/ 7088212 w 7088212"/>
              <a:gd name="connsiteY19" fmla="*/ 195109 h 6858000"/>
              <a:gd name="connsiteX20" fmla="*/ 5518218 w 7088212"/>
              <a:gd name="connsiteY20" fmla="*/ 3434542 h 6858000"/>
              <a:gd name="connsiteX21" fmla="*/ 7088212 w 7088212"/>
              <a:gd name="connsiteY21" fmla="*/ 6655729 h 6858000"/>
              <a:gd name="connsiteX22" fmla="*/ 7088212 w 7088212"/>
              <a:gd name="connsiteY22" fmla="*/ 6858000 h 6858000"/>
              <a:gd name="connsiteX23" fmla="*/ 6740201 w 7088212"/>
              <a:gd name="connsiteY23" fmla="*/ 6858000 h 6858000"/>
              <a:gd name="connsiteX24" fmla="*/ 5071618 w 7088212"/>
              <a:gd name="connsiteY24" fmla="*/ 3434542 h 6858000"/>
              <a:gd name="connsiteX25" fmla="*/ 6238549 w 7088212"/>
              <a:gd name="connsiteY25" fmla="*/ 1 h 6858000"/>
              <a:gd name="connsiteX26" fmla="*/ 6692444 w 7088212"/>
              <a:gd name="connsiteY26" fmla="*/ 1 h 6858000"/>
              <a:gd name="connsiteX27" fmla="*/ 5027891 w 7088212"/>
              <a:gd name="connsiteY27" fmla="*/ 3434542 h 6858000"/>
              <a:gd name="connsiteX28" fmla="*/ 6696474 w 7088212"/>
              <a:gd name="connsiteY28" fmla="*/ 6858000 h 6858000"/>
              <a:gd name="connsiteX29" fmla="*/ 6241989 w 7088212"/>
              <a:gd name="connsiteY29" fmla="*/ 6858000 h 6858000"/>
              <a:gd name="connsiteX30" fmla="*/ 4573406 w 7088212"/>
              <a:gd name="connsiteY30" fmla="*/ 3434542 h 6858000"/>
              <a:gd name="connsiteX31" fmla="*/ 5748221 w 7088212"/>
              <a:gd name="connsiteY31" fmla="*/ 1 h 6858000"/>
              <a:gd name="connsiteX32" fmla="*/ 6194231 w 7088212"/>
              <a:gd name="connsiteY32" fmla="*/ 1 h 6858000"/>
              <a:gd name="connsiteX33" fmla="*/ 4529678 w 7088212"/>
              <a:gd name="connsiteY33" fmla="*/ 3434542 h 6858000"/>
              <a:gd name="connsiteX34" fmla="*/ 6198261 w 7088212"/>
              <a:gd name="connsiteY34" fmla="*/ 6858000 h 6858000"/>
              <a:gd name="connsiteX35" fmla="*/ 5751661 w 7088212"/>
              <a:gd name="connsiteY35" fmla="*/ 6858000 h 6858000"/>
              <a:gd name="connsiteX36" fmla="*/ 4083078 w 7088212"/>
              <a:gd name="connsiteY36" fmla="*/ 3434542 h 6858000"/>
              <a:gd name="connsiteX37" fmla="*/ 5257893 w 7088212"/>
              <a:gd name="connsiteY37" fmla="*/ 1 h 6858000"/>
              <a:gd name="connsiteX38" fmla="*/ 5696019 w 7088212"/>
              <a:gd name="connsiteY38" fmla="*/ 1 h 6858000"/>
              <a:gd name="connsiteX39" fmla="*/ 4031465 w 7088212"/>
              <a:gd name="connsiteY39" fmla="*/ 3434542 h 6858000"/>
              <a:gd name="connsiteX40" fmla="*/ 5700048 w 7088212"/>
              <a:gd name="connsiteY40" fmla="*/ 6858000 h 6858000"/>
              <a:gd name="connsiteX41" fmla="*/ 5261334 w 7088212"/>
              <a:gd name="connsiteY41" fmla="*/ 6858000 h 6858000"/>
              <a:gd name="connsiteX42" fmla="*/ 3592751 w 7088212"/>
              <a:gd name="connsiteY42" fmla="*/ 3434542 h 6858000"/>
              <a:gd name="connsiteX43" fmla="*/ 4787634 w 7088212"/>
              <a:gd name="connsiteY43" fmla="*/ 1 h 6858000"/>
              <a:gd name="connsiteX44" fmla="*/ 5178319 w 7088212"/>
              <a:gd name="connsiteY44" fmla="*/ 1 h 6858000"/>
              <a:gd name="connsiteX45" fmla="*/ 3513176 w 7088212"/>
              <a:gd name="connsiteY45" fmla="*/ 3434542 h 6858000"/>
              <a:gd name="connsiteX46" fmla="*/ 5182449 w 7088212"/>
              <a:gd name="connsiteY46" fmla="*/ 6858000 h 6858000"/>
              <a:gd name="connsiteX47" fmla="*/ 4791074 w 7088212"/>
              <a:gd name="connsiteY47" fmla="*/ 6858000 h 6858000"/>
              <a:gd name="connsiteX48" fmla="*/ 3122491 w 7088212"/>
              <a:gd name="connsiteY48" fmla="*/ 3434542 h 6858000"/>
              <a:gd name="connsiteX49" fmla="*/ 4309493 w 7088212"/>
              <a:gd name="connsiteY49" fmla="*/ 1 h 6858000"/>
              <a:gd name="connsiteX50" fmla="*/ 4668049 w 7088212"/>
              <a:gd name="connsiteY50" fmla="*/ 1 h 6858000"/>
              <a:gd name="connsiteX51" fmla="*/ 3003495 w 7088212"/>
              <a:gd name="connsiteY51" fmla="*/ 3434542 h 6858000"/>
              <a:gd name="connsiteX52" fmla="*/ 4672078 w 7088212"/>
              <a:gd name="connsiteY52" fmla="*/ 6858000 h 6858000"/>
              <a:gd name="connsiteX53" fmla="*/ 4312934 w 7088212"/>
              <a:gd name="connsiteY53" fmla="*/ 6858000 h 6858000"/>
              <a:gd name="connsiteX54" fmla="*/ 2644351 w 7088212"/>
              <a:gd name="connsiteY54" fmla="*/ 3434542 h 6858000"/>
              <a:gd name="connsiteX55" fmla="*/ 3827179 w 7088212"/>
              <a:gd name="connsiteY55" fmla="*/ 1 h 6858000"/>
              <a:gd name="connsiteX56" fmla="*/ 4161821 w 7088212"/>
              <a:gd name="connsiteY56" fmla="*/ 1 h 6858000"/>
              <a:gd name="connsiteX57" fmla="*/ 2496679 w 7088212"/>
              <a:gd name="connsiteY57" fmla="*/ 3434542 h 6858000"/>
              <a:gd name="connsiteX58" fmla="*/ 4165951 w 7088212"/>
              <a:gd name="connsiteY58" fmla="*/ 6858000 h 6858000"/>
              <a:gd name="connsiteX59" fmla="*/ 3831208 w 7088212"/>
              <a:gd name="connsiteY59" fmla="*/ 6858000 h 6858000"/>
              <a:gd name="connsiteX60" fmla="*/ 2162625 w 7088212"/>
              <a:gd name="connsiteY60" fmla="*/ 3434542 h 6858000"/>
              <a:gd name="connsiteX61" fmla="*/ 3396278 w 7088212"/>
              <a:gd name="connsiteY61" fmla="*/ 1 h 6858000"/>
              <a:gd name="connsiteX62" fmla="*/ 3658775 w 7088212"/>
              <a:gd name="connsiteY62" fmla="*/ 1 h 6858000"/>
              <a:gd name="connsiteX63" fmla="*/ 1994222 w 7088212"/>
              <a:gd name="connsiteY63" fmla="*/ 3434542 h 6858000"/>
              <a:gd name="connsiteX64" fmla="*/ 3662804 w 7088212"/>
              <a:gd name="connsiteY64" fmla="*/ 6858000 h 6858000"/>
              <a:gd name="connsiteX65" fmla="*/ 3399719 w 7088212"/>
              <a:gd name="connsiteY65" fmla="*/ 6858000 h 6858000"/>
              <a:gd name="connsiteX66" fmla="*/ 1731136 w 7088212"/>
              <a:gd name="connsiteY66" fmla="*/ 3434542 h 6858000"/>
              <a:gd name="connsiteX67" fmla="*/ 2965904 w 7088212"/>
              <a:gd name="connsiteY67" fmla="*/ 0 h 6858000"/>
              <a:gd name="connsiteX68" fmla="*/ 3196732 w 7088212"/>
              <a:gd name="connsiteY68" fmla="*/ 0 h 6858000"/>
              <a:gd name="connsiteX69" fmla="*/ 1531590 w 7088212"/>
              <a:gd name="connsiteY69" fmla="*/ 3434542 h 6858000"/>
              <a:gd name="connsiteX70" fmla="*/ 3200863 w 7088212"/>
              <a:gd name="connsiteY70" fmla="*/ 6858000 h 6858000"/>
              <a:gd name="connsiteX71" fmla="*/ 2969345 w 7088212"/>
              <a:gd name="connsiteY71" fmla="*/ 6858000 h 6858000"/>
              <a:gd name="connsiteX72" fmla="*/ 1300762 w 7088212"/>
              <a:gd name="connsiteY72" fmla="*/ 3434542 h 6858000"/>
              <a:gd name="connsiteX73" fmla="*/ 2506592 w 7088212"/>
              <a:gd name="connsiteY73" fmla="*/ 0 h 6858000"/>
              <a:gd name="connsiteX74" fmla="*/ 2690136 w 7088212"/>
              <a:gd name="connsiteY74" fmla="*/ 0 h 6858000"/>
              <a:gd name="connsiteX75" fmla="*/ 1025582 w 7088212"/>
              <a:gd name="connsiteY75" fmla="*/ 3434542 h 6858000"/>
              <a:gd name="connsiteX76" fmla="*/ 2694165 w 7088212"/>
              <a:gd name="connsiteY76" fmla="*/ 6858000 h 6858000"/>
              <a:gd name="connsiteX77" fmla="*/ 2510651 w 7088212"/>
              <a:gd name="connsiteY77" fmla="*/ 6858000 h 6858000"/>
              <a:gd name="connsiteX78" fmla="*/ 842068 w 7088212"/>
              <a:gd name="connsiteY78" fmla="*/ 3434542 h 6858000"/>
              <a:gd name="connsiteX79" fmla="*/ 859272 w 7088212"/>
              <a:gd name="connsiteY79" fmla="*/ 3398698 h 6858000"/>
              <a:gd name="connsiteX80" fmla="*/ 2066862 w 7088212"/>
              <a:gd name="connsiteY80" fmla="*/ 0 h 6858000"/>
              <a:gd name="connsiteX81" fmla="*/ 2178634 w 7088212"/>
              <a:gd name="connsiteY81" fmla="*/ 0 h 6858000"/>
              <a:gd name="connsiteX82" fmla="*/ 513490 w 7088212"/>
              <a:gd name="connsiteY82" fmla="*/ 3434542 h 6858000"/>
              <a:gd name="connsiteX83" fmla="*/ 2182763 w 7088212"/>
              <a:gd name="connsiteY83" fmla="*/ 6858000 h 6858000"/>
              <a:gd name="connsiteX84" fmla="*/ 2070961 w 7088212"/>
              <a:gd name="connsiteY84" fmla="*/ 6858000 h 6858000"/>
              <a:gd name="connsiteX85" fmla="*/ 402378 w 7088212"/>
              <a:gd name="connsiteY85" fmla="*/ 3434542 h 6858000"/>
              <a:gd name="connsiteX86" fmla="*/ 412414 w 7088212"/>
              <a:gd name="connsiteY86" fmla="*/ 3413036 h 6858000"/>
              <a:gd name="connsiteX87" fmla="*/ 1664655 w 7088212"/>
              <a:gd name="connsiteY87" fmla="*/ 0 h 6858000"/>
              <a:gd name="connsiteX88" fmla="*/ 1736238 w 7088212"/>
              <a:gd name="connsiteY88" fmla="*/ 0 h 6858000"/>
              <a:gd name="connsiteX89" fmla="*/ 71684 w 7088212"/>
              <a:gd name="connsiteY89" fmla="*/ 3434542 h 6858000"/>
              <a:gd name="connsiteX90" fmla="*/ 1740267 w 7088212"/>
              <a:gd name="connsiteY90" fmla="*/ 6858000 h 6858000"/>
              <a:gd name="connsiteX91" fmla="*/ 1668582 w 7088212"/>
              <a:gd name="connsiteY91" fmla="*/ 6858000 h 6858000"/>
              <a:gd name="connsiteX92" fmla="*/ 0 w 7088212"/>
              <a:gd name="connsiteY92" fmla="*/ 3434545 h 6858000"/>
              <a:gd name="connsiteX93" fmla="*/ 0 w 7088212"/>
              <a:gd name="connsiteY93" fmla="*/ 3434539 h 6858000"/>
              <a:gd name="connsiteX94" fmla="*/ 7167 w 7088212"/>
              <a:gd name="connsiteY94" fmla="*/ 34209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7088212" h="6858000">
                <a:moveTo>
                  <a:pt x="7088212" y="2316551"/>
                </a:moveTo>
                <a:lnTo>
                  <a:pt x="7088212" y="3270182"/>
                </a:lnTo>
                <a:lnTo>
                  <a:pt x="7088212" y="3597980"/>
                </a:lnTo>
                <a:lnTo>
                  <a:pt x="7088212" y="4546633"/>
                </a:lnTo>
                <a:lnTo>
                  <a:pt x="6546184" y="3434544"/>
                </a:lnTo>
                <a:close/>
                <a:moveTo>
                  <a:pt x="7088212" y="1297052"/>
                </a:moveTo>
                <a:lnTo>
                  <a:pt x="7088212" y="2251081"/>
                </a:lnTo>
                <a:lnTo>
                  <a:pt x="6514644" y="3434545"/>
                </a:lnTo>
                <a:lnTo>
                  <a:pt x="7088212" y="4611344"/>
                </a:lnTo>
                <a:lnTo>
                  <a:pt x="7088212" y="5559997"/>
                </a:lnTo>
                <a:lnTo>
                  <a:pt x="6052274" y="3434545"/>
                </a:lnTo>
                <a:close/>
                <a:moveTo>
                  <a:pt x="7088212" y="286451"/>
                </a:moveTo>
                <a:lnTo>
                  <a:pt x="7088212" y="1223092"/>
                </a:lnTo>
                <a:lnTo>
                  <a:pt x="6016431" y="3434543"/>
                </a:lnTo>
                <a:lnTo>
                  <a:pt x="7088212" y="5633535"/>
                </a:lnTo>
                <a:lnTo>
                  <a:pt x="7088212" y="6566009"/>
                </a:lnTo>
                <a:lnTo>
                  <a:pt x="5561946" y="3434543"/>
                </a:lnTo>
                <a:close/>
                <a:moveTo>
                  <a:pt x="6736761" y="1"/>
                </a:moveTo>
                <a:lnTo>
                  <a:pt x="7088212" y="1"/>
                </a:lnTo>
                <a:lnTo>
                  <a:pt x="7088212" y="195109"/>
                </a:lnTo>
                <a:lnTo>
                  <a:pt x="5518218" y="3434542"/>
                </a:lnTo>
                <a:lnTo>
                  <a:pt x="7088212" y="6655729"/>
                </a:lnTo>
                <a:lnTo>
                  <a:pt x="7088212" y="6858000"/>
                </a:lnTo>
                <a:lnTo>
                  <a:pt x="6740201" y="6858000"/>
                </a:lnTo>
                <a:lnTo>
                  <a:pt x="5071618" y="3434542"/>
                </a:lnTo>
                <a:close/>
                <a:moveTo>
                  <a:pt x="6238549" y="1"/>
                </a:moveTo>
                <a:lnTo>
                  <a:pt x="6692444" y="1"/>
                </a:lnTo>
                <a:lnTo>
                  <a:pt x="5027891" y="3434542"/>
                </a:lnTo>
                <a:lnTo>
                  <a:pt x="6696474" y="6858000"/>
                </a:lnTo>
                <a:lnTo>
                  <a:pt x="6241989" y="6858000"/>
                </a:lnTo>
                <a:lnTo>
                  <a:pt x="4573406" y="3434542"/>
                </a:lnTo>
                <a:close/>
                <a:moveTo>
                  <a:pt x="5748221" y="1"/>
                </a:moveTo>
                <a:lnTo>
                  <a:pt x="6194231" y="1"/>
                </a:lnTo>
                <a:lnTo>
                  <a:pt x="4529678" y="3434542"/>
                </a:lnTo>
                <a:lnTo>
                  <a:pt x="6198261" y="6858000"/>
                </a:lnTo>
                <a:lnTo>
                  <a:pt x="5751661" y="6858000"/>
                </a:lnTo>
                <a:lnTo>
                  <a:pt x="4083078" y="3434542"/>
                </a:lnTo>
                <a:close/>
                <a:moveTo>
                  <a:pt x="5257893" y="1"/>
                </a:moveTo>
                <a:lnTo>
                  <a:pt x="5696019" y="1"/>
                </a:lnTo>
                <a:lnTo>
                  <a:pt x="4031465" y="3434542"/>
                </a:lnTo>
                <a:lnTo>
                  <a:pt x="5700048" y="6858000"/>
                </a:lnTo>
                <a:lnTo>
                  <a:pt x="5261334" y="6858000"/>
                </a:lnTo>
                <a:lnTo>
                  <a:pt x="3592751" y="3434542"/>
                </a:lnTo>
                <a:close/>
                <a:moveTo>
                  <a:pt x="4787634" y="1"/>
                </a:moveTo>
                <a:lnTo>
                  <a:pt x="5178319" y="1"/>
                </a:lnTo>
                <a:lnTo>
                  <a:pt x="3513176" y="3434542"/>
                </a:lnTo>
                <a:lnTo>
                  <a:pt x="5182449" y="6858000"/>
                </a:lnTo>
                <a:lnTo>
                  <a:pt x="4791074" y="6858000"/>
                </a:lnTo>
                <a:lnTo>
                  <a:pt x="3122491" y="3434542"/>
                </a:lnTo>
                <a:close/>
                <a:moveTo>
                  <a:pt x="4309493" y="1"/>
                </a:moveTo>
                <a:lnTo>
                  <a:pt x="4668049" y="1"/>
                </a:lnTo>
                <a:lnTo>
                  <a:pt x="3003495" y="3434542"/>
                </a:lnTo>
                <a:lnTo>
                  <a:pt x="4672078" y="6858000"/>
                </a:lnTo>
                <a:lnTo>
                  <a:pt x="4312934" y="6858000"/>
                </a:lnTo>
                <a:lnTo>
                  <a:pt x="2644351" y="3434542"/>
                </a:lnTo>
                <a:close/>
                <a:moveTo>
                  <a:pt x="3827179" y="1"/>
                </a:moveTo>
                <a:lnTo>
                  <a:pt x="4161821" y="1"/>
                </a:lnTo>
                <a:lnTo>
                  <a:pt x="2496679" y="3434542"/>
                </a:lnTo>
                <a:lnTo>
                  <a:pt x="4165951" y="6858000"/>
                </a:lnTo>
                <a:lnTo>
                  <a:pt x="3831208" y="6858000"/>
                </a:lnTo>
                <a:lnTo>
                  <a:pt x="2162625" y="3434542"/>
                </a:lnTo>
                <a:close/>
                <a:moveTo>
                  <a:pt x="3396278" y="1"/>
                </a:moveTo>
                <a:lnTo>
                  <a:pt x="3658775" y="1"/>
                </a:lnTo>
                <a:lnTo>
                  <a:pt x="1994222" y="3434542"/>
                </a:lnTo>
                <a:lnTo>
                  <a:pt x="3662804" y="6858000"/>
                </a:lnTo>
                <a:lnTo>
                  <a:pt x="3399719" y="6858000"/>
                </a:lnTo>
                <a:lnTo>
                  <a:pt x="1731136" y="3434542"/>
                </a:lnTo>
                <a:close/>
                <a:moveTo>
                  <a:pt x="2965904" y="0"/>
                </a:moveTo>
                <a:lnTo>
                  <a:pt x="3196732" y="0"/>
                </a:lnTo>
                <a:lnTo>
                  <a:pt x="1531590" y="3434542"/>
                </a:lnTo>
                <a:lnTo>
                  <a:pt x="3200863" y="6858000"/>
                </a:lnTo>
                <a:lnTo>
                  <a:pt x="2969345" y="6858000"/>
                </a:lnTo>
                <a:lnTo>
                  <a:pt x="1300762" y="3434542"/>
                </a:lnTo>
                <a:close/>
                <a:moveTo>
                  <a:pt x="2506592" y="0"/>
                </a:moveTo>
                <a:lnTo>
                  <a:pt x="2690136" y="0"/>
                </a:lnTo>
                <a:lnTo>
                  <a:pt x="1025582" y="3434542"/>
                </a:lnTo>
                <a:lnTo>
                  <a:pt x="2694165" y="6858000"/>
                </a:lnTo>
                <a:lnTo>
                  <a:pt x="2510651" y="6858000"/>
                </a:lnTo>
                <a:lnTo>
                  <a:pt x="842068" y="3434542"/>
                </a:lnTo>
                <a:lnTo>
                  <a:pt x="859272" y="3398698"/>
                </a:lnTo>
                <a:close/>
                <a:moveTo>
                  <a:pt x="2066862" y="0"/>
                </a:moveTo>
                <a:lnTo>
                  <a:pt x="2178634" y="0"/>
                </a:lnTo>
                <a:lnTo>
                  <a:pt x="513490" y="3434542"/>
                </a:lnTo>
                <a:lnTo>
                  <a:pt x="2182763" y="6858000"/>
                </a:lnTo>
                <a:lnTo>
                  <a:pt x="2070961" y="6858000"/>
                </a:lnTo>
                <a:lnTo>
                  <a:pt x="402378" y="3434542"/>
                </a:lnTo>
                <a:lnTo>
                  <a:pt x="412414" y="3413036"/>
                </a:lnTo>
                <a:close/>
                <a:moveTo>
                  <a:pt x="1664655" y="0"/>
                </a:moveTo>
                <a:lnTo>
                  <a:pt x="1736238" y="0"/>
                </a:lnTo>
                <a:lnTo>
                  <a:pt x="71684" y="3434542"/>
                </a:lnTo>
                <a:lnTo>
                  <a:pt x="1740267" y="6858000"/>
                </a:lnTo>
                <a:lnTo>
                  <a:pt x="1668582" y="6858000"/>
                </a:lnTo>
                <a:lnTo>
                  <a:pt x="0" y="3434545"/>
                </a:lnTo>
                <a:lnTo>
                  <a:pt x="0" y="3434539"/>
                </a:lnTo>
                <a:lnTo>
                  <a:pt x="7167" y="3420921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rgbClr val="4B00B0">
                  <a:alpha val="94000"/>
                </a:srgbClr>
              </a:gs>
            </a:gsLst>
            <a:lin ang="18900000" scaled="1"/>
          </a:gradFill>
          <a:effectLst/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>
                <a:solidFill>
                  <a:schemeClr val="bg1"/>
                </a:solidFill>
              </a:defRPr>
            </a:lvl1pPr>
          </a:lstStyle>
          <a:p>
            <a:pPr marL="146300" lvl="0" indent="-146300" algn="ctr"/>
            <a:r>
              <a:rPr lang="en-US" dirty="0"/>
              <a:t>Imag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3FE2BF8-828C-43E9-9772-0F79DCCE205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426739C-DD54-44F8-9755-FCA16DFEE309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EC883F4E-2F81-4391-AF85-48360AD41C5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8138" y="3227297"/>
            <a:ext cx="1242834" cy="1306603"/>
          </a:xfrm>
          <a:prstGeom prst="rect">
            <a:avLst/>
          </a:prstGeom>
          <a:noFill/>
          <a:effectLst/>
        </p:spPr>
        <p:txBody>
          <a:bodyPr vert="horz" wrap="none"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8800" b="1" spc="-226" baseline="0">
                <a:solidFill>
                  <a:schemeClr val="accent1"/>
                </a:solidFill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02" name="Text Placeholder 5">
            <a:extLst>
              <a:ext uri="{FF2B5EF4-FFF2-40B4-BE49-F238E27FC236}">
                <a16:creationId xmlns:a16="http://schemas.microsoft.com/office/drawing/2014/main" id="{D45EA242-18FC-4A96-9615-B392A4282B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26249" y="3364992"/>
            <a:ext cx="2820113" cy="1930908"/>
          </a:xfrm>
          <a:noFill/>
          <a:effectLst/>
        </p:spPr>
        <p:txBody>
          <a:bodyPr lIns="0" tIns="0" rIns="0" bIns="0">
            <a:normAutofit/>
          </a:bodyPr>
          <a:lstStyle>
            <a:lvl1pPr marL="0" indent="0">
              <a:spcBef>
                <a:spcPts val="400"/>
              </a:spcBef>
              <a:buFont typeface="Arial" panose="020B0604020202020204" pitchFamily="34" charset="0"/>
              <a:buNone/>
              <a:defRPr sz="2133" b="0">
                <a:solidFill>
                  <a:schemeClr val="accent1"/>
                </a:solidFill>
              </a:defRPr>
            </a:lvl1pPr>
            <a:lvl2pPr marL="170684" indent="0">
              <a:buNone/>
              <a:defRPr sz="2133" b="0"/>
            </a:lvl2pPr>
            <a:lvl3pPr marL="329176" indent="0">
              <a:buNone/>
              <a:defRPr sz="2133" b="0"/>
            </a:lvl3pPr>
            <a:lvl4pPr marL="621776" indent="0">
              <a:buFont typeface="Arial" panose="020B0604020202020204" pitchFamily="34" charset="0"/>
              <a:buNone/>
              <a:defRPr sz="2133" b="0"/>
            </a:lvl4pPr>
            <a:lvl5pPr marL="804652" indent="0">
              <a:buNone/>
              <a:defRPr sz="2133" b="0"/>
            </a:lvl5pPr>
          </a:lstStyle>
          <a:p>
            <a:pPr lvl="0"/>
            <a:r>
              <a:rPr lang="en-US" dirty="0"/>
              <a:t>Insert subtitle</a:t>
            </a:r>
            <a:br>
              <a:rPr lang="en-US" dirty="0"/>
            </a:br>
            <a:r>
              <a:rPr lang="en-US" dirty="0"/>
              <a:t>here.</a:t>
            </a:r>
          </a:p>
        </p:txBody>
      </p:sp>
      <p:sp>
        <p:nvSpPr>
          <p:cNvPr id="103" name="Title 1">
            <a:extLst>
              <a:ext uri="{FF2B5EF4-FFF2-40B4-BE49-F238E27FC236}">
                <a16:creationId xmlns:a16="http://schemas.microsoft.com/office/drawing/2014/main" id="{D206086A-C24E-4C32-AB1D-EEBB7106F1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325" y="338138"/>
            <a:ext cx="4734424" cy="2904934"/>
          </a:xfrm>
        </p:spPr>
        <p:txBody>
          <a:bodyPr tIns="0" bIns="0" anchor="b" anchorCtr="0">
            <a:normAutofit/>
          </a:bodyPr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a section 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3EC02A8-EE35-4565-80C5-3BDB11E0DFC2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F855DDEE-4ADF-4F85-B228-B24396AB25BC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0F4DBB13-090A-422E-A48A-DA12915F357E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D7F08353-297E-4E5F-A1DE-850D6DB53015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1055AE37-7142-49AF-B02B-0A03EEB400DC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F32CACC9-85C3-416A-AE94-6128F82D44B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46686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E59EF632-3D4F-4945-900D-D4D867CF7E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03788" y="0"/>
            <a:ext cx="7088212" cy="6858000"/>
          </a:xfrm>
          <a:custGeom>
            <a:avLst/>
            <a:gdLst>
              <a:gd name="connsiteX0" fmla="*/ 7088212 w 7088212"/>
              <a:gd name="connsiteY0" fmla="*/ 2316551 h 6858000"/>
              <a:gd name="connsiteX1" fmla="*/ 7088212 w 7088212"/>
              <a:gd name="connsiteY1" fmla="*/ 3270182 h 6858000"/>
              <a:gd name="connsiteX2" fmla="*/ 7088212 w 7088212"/>
              <a:gd name="connsiteY2" fmla="*/ 3597980 h 6858000"/>
              <a:gd name="connsiteX3" fmla="*/ 7088212 w 7088212"/>
              <a:gd name="connsiteY3" fmla="*/ 4546633 h 6858000"/>
              <a:gd name="connsiteX4" fmla="*/ 6546184 w 7088212"/>
              <a:gd name="connsiteY4" fmla="*/ 3434544 h 6858000"/>
              <a:gd name="connsiteX5" fmla="*/ 7088212 w 7088212"/>
              <a:gd name="connsiteY5" fmla="*/ 1297052 h 6858000"/>
              <a:gd name="connsiteX6" fmla="*/ 7088212 w 7088212"/>
              <a:gd name="connsiteY6" fmla="*/ 2251081 h 6858000"/>
              <a:gd name="connsiteX7" fmla="*/ 6514644 w 7088212"/>
              <a:gd name="connsiteY7" fmla="*/ 3434545 h 6858000"/>
              <a:gd name="connsiteX8" fmla="*/ 7088212 w 7088212"/>
              <a:gd name="connsiteY8" fmla="*/ 4611344 h 6858000"/>
              <a:gd name="connsiteX9" fmla="*/ 7088212 w 7088212"/>
              <a:gd name="connsiteY9" fmla="*/ 5559997 h 6858000"/>
              <a:gd name="connsiteX10" fmla="*/ 6052274 w 7088212"/>
              <a:gd name="connsiteY10" fmla="*/ 3434545 h 6858000"/>
              <a:gd name="connsiteX11" fmla="*/ 7088212 w 7088212"/>
              <a:gd name="connsiteY11" fmla="*/ 286451 h 6858000"/>
              <a:gd name="connsiteX12" fmla="*/ 7088212 w 7088212"/>
              <a:gd name="connsiteY12" fmla="*/ 1223092 h 6858000"/>
              <a:gd name="connsiteX13" fmla="*/ 6016431 w 7088212"/>
              <a:gd name="connsiteY13" fmla="*/ 3434543 h 6858000"/>
              <a:gd name="connsiteX14" fmla="*/ 7088212 w 7088212"/>
              <a:gd name="connsiteY14" fmla="*/ 5633535 h 6858000"/>
              <a:gd name="connsiteX15" fmla="*/ 7088212 w 7088212"/>
              <a:gd name="connsiteY15" fmla="*/ 6566009 h 6858000"/>
              <a:gd name="connsiteX16" fmla="*/ 5561946 w 7088212"/>
              <a:gd name="connsiteY16" fmla="*/ 3434543 h 6858000"/>
              <a:gd name="connsiteX17" fmla="*/ 6736761 w 7088212"/>
              <a:gd name="connsiteY17" fmla="*/ 1 h 6858000"/>
              <a:gd name="connsiteX18" fmla="*/ 7088212 w 7088212"/>
              <a:gd name="connsiteY18" fmla="*/ 1 h 6858000"/>
              <a:gd name="connsiteX19" fmla="*/ 7088212 w 7088212"/>
              <a:gd name="connsiteY19" fmla="*/ 195109 h 6858000"/>
              <a:gd name="connsiteX20" fmla="*/ 5518218 w 7088212"/>
              <a:gd name="connsiteY20" fmla="*/ 3434542 h 6858000"/>
              <a:gd name="connsiteX21" fmla="*/ 7088212 w 7088212"/>
              <a:gd name="connsiteY21" fmla="*/ 6655729 h 6858000"/>
              <a:gd name="connsiteX22" fmla="*/ 7088212 w 7088212"/>
              <a:gd name="connsiteY22" fmla="*/ 6858000 h 6858000"/>
              <a:gd name="connsiteX23" fmla="*/ 6740201 w 7088212"/>
              <a:gd name="connsiteY23" fmla="*/ 6858000 h 6858000"/>
              <a:gd name="connsiteX24" fmla="*/ 5071618 w 7088212"/>
              <a:gd name="connsiteY24" fmla="*/ 3434542 h 6858000"/>
              <a:gd name="connsiteX25" fmla="*/ 6238549 w 7088212"/>
              <a:gd name="connsiteY25" fmla="*/ 1 h 6858000"/>
              <a:gd name="connsiteX26" fmla="*/ 6692444 w 7088212"/>
              <a:gd name="connsiteY26" fmla="*/ 1 h 6858000"/>
              <a:gd name="connsiteX27" fmla="*/ 5027891 w 7088212"/>
              <a:gd name="connsiteY27" fmla="*/ 3434542 h 6858000"/>
              <a:gd name="connsiteX28" fmla="*/ 6696474 w 7088212"/>
              <a:gd name="connsiteY28" fmla="*/ 6858000 h 6858000"/>
              <a:gd name="connsiteX29" fmla="*/ 6241989 w 7088212"/>
              <a:gd name="connsiteY29" fmla="*/ 6858000 h 6858000"/>
              <a:gd name="connsiteX30" fmla="*/ 4573406 w 7088212"/>
              <a:gd name="connsiteY30" fmla="*/ 3434542 h 6858000"/>
              <a:gd name="connsiteX31" fmla="*/ 5748221 w 7088212"/>
              <a:gd name="connsiteY31" fmla="*/ 1 h 6858000"/>
              <a:gd name="connsiteX32" fmla="*/ 6194231 w 7088212"/>
              <a:gd name="connsiteY32" fmla="*/ 1 h 6858000"/>
              <a:gd name="connsiteX33" fmla="*/ 4529678 w 7088212"/>
              <a:gd name="connsiteY33" fmla="*/ 3434542 h 6858000"/>
              <a:gd name="connsiteX34" fmla="*/ 6198261 w 7088212"/>
              <a:gd name="connsiteY34" fmla="*/ 6858000 h 6858000"/>
              <a:gd name="connsiteX35" fmla="*/ 5751661 w 7088212"/>
              <a:gd name="connsiteY35" fmla="*/ 6858000 h 6858000"/>
              <a:gd name="connsiteX36" fmla="*/ 4083078 w 7088212"/>
              <a:gd name="connsiteY36" fmla="*/ 3434542 h 6858000"/>
              <a:gd name="connsiteX37" fmla="*/ 5257893 w 7088212"/>
              <a:gd name="connsiteY37" fmla="*/ 1 h 6858000"/>
              <a:gd name="connsiteX38" fmla="*/ 5696019 w 7088212"/>
              <a:gd name="connsiteY38" fmla="*/ 1 h 6858000"/>
              <a:gd name="connsiteX39" fmla="*/ 4031465 w 7088212"/>
              <a:gd name="connsiteY39" fmla="*/ 3434542 h 6858000"/>
              <a:gd name="connsiteX40" fmla="*/ 5700048 w 7088212"/>
              <a:gd name="connsiteY40" fmla="*/ 6858000 h 6858000"/>
              <a:gd name="connsiteX41" fmla="*/ 5261334 w 7088212"/>
              <a:gd name="connsiteY41" fmla="*/ 6858000 h 6858000"/>
              <a:gd name="connsiteX42" fmla="*/ 3592751 w 7088212"/>
              <a:gd name="connsiteY42" fmla="*/ 3434542 h 6858000"/>
              <a:gd name="connsiteX43" fmla="*/ 4787634 w 7088212"/>
              <a:gd name="connsiteY43" fmla="*/ 1 h 6858000"/>
              <a:gd name="connsiteX44" fmla="*/ 5178319 w 7088212"/>
              <a:gd name="connsiteY44" fmla="*/ 1 h 6858000"/>
              <a:gd name="connsiteX45" fmla="*/ 3513176 w 7088212"/>
              <a:gd name="connsiteY45" fmla="*/ 3434542 h 6858000"/>
              <a:gd name="connsiteX46" fmla="*/ 5182449 w 7088212"/>
              <a:gd name="connsiteY46" fmla="*/ 6858000 h 6858000"/>
              <a:gd name="connsiteX47" fmla="*/ 4791074 w 7088212"/>
              <a:gd name="connsiteY47" fmla="*/ 6858000 h 6858000"/>
              <a:gd name="connsiteX48" fmla="*/ 3122491 w 7088212"/>
              <a:gd name="connsiteY48" fmla="*/ 3434542 h 6858000"/>
              <a:gd name="connsiteX49" fmla="*/ 4309493 w 7088212"/>
              <a:gd name="connsiteY49" fmla="*/ 1 h 6858000"/>
              <a:gd name="connsiteX50" fmla="*/ 4668049 w 7088212"/>
              <a:gd name="connsiteY50" fmla="*/ 1 h 6858000"/>
              <a:gd name="connsiteX51" fmla="*/ 3003495 w 7088212"/>
              <a:gd name="connsiteY51" fmla="*/ 3434542 h 6858000"/>
              <a:gd name="connsiteX52" fmla="*/ 4672078 w 7088212"/>
              <a:gd name="connsiteY52" fmla="*/ 6858000 h 6858000"/>
              <a:gd name="connsiteX53" fmla="*/ 4312934 w 7088212"/>
              <a:gd name="connsiteY53" fmla="*/ 6858000 h 6858000"/>
              <a:gd name="connsiteX54" fmla="*/ 2644351 w 7088212"/>
              <a:gd name="connsiteY54" fmla="*/ 3434542 h 6858000"/>
              <a:gd name="connsiteX55" fmla="*/ 3827179 w 7088212"/>
              <a:gd name="connsiteY55" fmla="*/ 1 h 6858000"/>
              <a:gd name="connsiteX56" fmla="*/ 4161821 w 7088212"/>
              <a:gd name="connsiteY56" fmla="*/ 1 h 6858000"/>
              <a:gd name="connsiteX57" fmla="*/ 2496679 w 7088212"/>
              <a:gd name="connsiteY57" fmla="*/ 3434542 h 6858000"/>
              <a:gd name="connsiteX58" fmla="*/ 4165951 w 7088212"/>
              <a:gd name="connsiteY58" fmla="*/ 6858000 h 6858000"/>
              <a:gd name="connsiteX59" fmla="*/ 3831208 w 7088212"/>
              <a:gd name="connsiteY59" fmla="*/ 6858000 h 6858000"/>
              <a:gd name="connsiteX60" fmla="*/ 2162625 w 7088212"/>
              <a:gd name="connsiteY60" fmla="*/ 3434542 h 6858000"/>
              <a:gd name="connsiteX61" fmla="*/ 3396278 w 7088212"/>
              <a:gd name="connsiteY61" fmla="*/ 1 h 6858000"/>
              <a:gd name="connsiteX62" fmla="*/ 3658775 w 7088212"/>
              <a:gd name="connsiteY62" fmla="*/ 1 h 6858000"/>
              <a:gd name="connsiteX63" fmla="*/ 1994222 w 7088212"/>
              <a:gd name="connsiteY63" fmla="*/ 3434542 h 6858000"/>
              <a:gd name="connsiteX64" fmla="*/ 3662804 w 7088212"/>
              <a:gd name="connsiteY64" fmla="*/ 6858000 h 6858000"/>
              <a:gd name="connsiteX65" fmla="*/ 3399719 w 7088212"/>
              <a:gd name="connsiteY65" fmla="*/ 6858000 h 6858000"/>
              <a:gd name="connsiteX66" fmla="*/ 1731136 w 7088212"/>
              <a:gd name="connsiteY66" fmla="*/ 3434542 h 6858000"/>
              <a:gd name="connsiteX67" fmla="*/ 2965904 w 7088212"/>
              <a:gd name="connsiteY67" fmla="*/ 0 h 6858000"/>
              <a:gd name="connsiteX68" fmla="*/ 3196732 w 7088212"/>
              <a:gd name="connsiteY68" fmla="*/ 0 h 6858000"/>
              <a:gd name="connsiteX69" fmla="*/ 1531590 w 7088212"/>
              <a:gd name="connsiteY69" fmla="*/ 3434542 h 6858000"/>
              <a:gd name="connsiteX70" fmla="*/ 3200863 w 7088212"/>
              <a:gd name="connsiteY70" fmla="*/ 6858000 h 6858000"/>
              <a:gd name="connsiteX71" fmla="*/ 2969345 w 7088212"/>
              <a:gd name="connsiteY71" fmla="*/ 6858000 h 6858000"/>
              <a:gd name="connsiteX72" fmla="*/ 1300762 w 7088212"/>
              <a:gd name="connsiteY72" fmla="*/ 3434542 h 6858000"/>
              <a:gd name="connsiteX73" fmla="*/ 2506592 w 7088212"/>
              <a:gd name="connsiteY73" fmla="*/ 0 h 6858000"/>
              <a:gd name="connsiteX74" fmla="*/ 2690136 w 7088212"/>
              <a:gd name="connsiteY74" fmla="*/ 0 h 6858000"/>
              <a:gd name="connsiteX75" fmla="*/ 1025582 w 7088212"/>
              <a:gd name="connsiteY75" fmla="*/ 3434542 h 6858000"/>
              <a:gd name="connsiteX76" fmla="*/ 2694165 w 7088212"/>
              <a:gd name="connsiteY76" fmla="*/ 6858000 h 6858000"/>
              <a:gd name="connsiteX77" fmla="*/ 2510651 w 7088212"/>
              <a:gd name="connsiteY77" fmla="*/ 6858000 h 6858000"/>
              <a:gd name="connsiteX78" fmla="*/ 842068 w 7088212"/>
              <a:gd name="connsiteY78" fmla="*/ 3434542 h 6858000"/>
              <a:gd name="connsiteX79" fmla="*/ 859272 w 7088212"/>
              <a:gd name="connsiteY79" fmla="*/ 3398698 h 6858000"/>
              <a:gd name="connsiteX80" fmla="*/ 2066862 w 7088212"/>
              <a:gd name="connsiteY80" fmla="*/ 0 h 6858000"/>
              <a:gd name="connsiteX81" fmla="*/ 2178634 w 7088212"/>
              <a:gd name="connsiteY81" fmla="*/ 0 h 6858000"/>
              <a:gd name="connsiteX82" fmla="*/ 513490 w 7088212"/>
              <a:gd name="connsiteY82" fmla="*/ 3434542 h 6858000"/>
              <a:gd name="connsiteX83" fmla="*/ 2182763 w 7088212"/>
              <a:gd name="connsiteY83" fmla="*/ 6858000 h 6858000"/>
              <a:gd name="connsiteX84" fmla="*/ 2070961 w 7088212"/>
              <a:gd name="connsiteY84" fmla="*/ 6858000 h 6858000"/>
              <a:gd name="connsiteX85" fmla="*/ 402378 w 7088212"/>
              <a:gd name="connsiteY85" fmla="*/ 3434542 h 6858000"/>
              <a:gd name="connsiteX86" fmla="*/ 412414 w 7088212"/>
              <a:gd name="connsiteY86" fmla="*/ 3413036 h 6858000"/>
              <a:gd name="connsiteX87" fmla="*/ 1664655 w 7088212"/>
              <a:gd name="connsiteY87" fmla="*/ 0 h 6858000"/>
              <a:gd name="connsiteX88" fmla="*/ 1736238 w 7088212"/>
              <a:gd name="connsiteY88" fmla="*/ 0 h 6858000"/>
              <a:gd name="connsiteX89" fmla="*/ 71684 w 7088212"/>
              <a:gd name="connsiteY89" fmla="*/ 3434542 h 6858000"/>
              <a:gd name="connsiteX90" fmla="*/ 1740267 w 7088212"/>
              <a:gd name="connsiteY90" fmla="*/ 6858000 h 6858000"/>
              <a:gd name="connsiteX91" fmla="*/ 1668582 w 7088212"/>
              <a:gd name="connsiteY91" fmla="*/ 6858000 h 6858000"/>
              <a:gd name="connsiteX92" fmla="*/ 0 w 7088212"/>
              <a:gd name="connsiteY92" fmla="*/ 3434545 h 6858000"/>
              <a:gd name="connsiteX93" fmla="*/ 0 w 7088212"/>
              <a:gd name="connsiteY93" fmla="*/ 3434539 h 6858000"/>
              <a:gd name="connsiteX94" fmla="*/ 7167 w 7088212"/>
              <a:gd name="connsiteY94" fmla="*/ 34209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7088212" h="6858000">
                <a:moveTo>
                  <a:pt x="7088212" y="2316551"/>
                </a:moveTo>
                <a:lnTo>
                  <a:pt x="7088212" y="3270182"/>
                </a:lnTo>
                <a:lnTo>
                  <a:pt x="7088212" y="3597980"/>
                </a:lnTo>
                <a:lnTo>
                  <a:pt x="7088212" y="4546633"/>
                </a:lnTo>
                <a:lnTo>
                  <a:pt x="6546184" y="3434544"/>
                </a:lnTo>
                <a:close/>
                <a:moveTo>
                  <a:pt x="7088212" y="1297052"/>
                </a:moveTo>
                <a:lnTo>
                  <a:pt x="7088212" y="2251081"/>
                </a:lnTo>
                <a:lnTo>
                  <a:pt x="6514644" y="3434545"/>
                </a:lnTo>
                <a:lnTo>
                  <a:pt x="7088212" y="4611344"/>
                </a:lnTo>
                <a:lnTo>
                  <a:pt x="7088212" y="5559997"/>
                </a:lnTo>
                <a:lnTo>
                  <a:pt x="6052274" y="3434545"/>
                </a:lnTo>
                <a:close/>
                <a:moveTo>
                  <a:pt x="7088212" y="286451"/>
                </a:moveTo>
                <a:lnTo>
                  <a:pt x="7088212" y="1223092"/>
                </a:lnTo>
                <a:lnTo>
                  <a:pt x="6016431" y="3434543"/>
                </a:lnTo>
                <a:lnTo>
                  <a:pt x="7088212" y="5633535"/>
                </a:lnTo>
                <a:lnTo>
                  <a:pt x="7088212" y="6566009"/>
                </a:lnTo>
                <a:lnTo>
                  <a:pt x="5561946" y="3434543"/>
                </a:lnTo>
                <a:close/>
                <a:moveTo>
                  <a:pt x="6736761" y="1"/>
                </a:moveTo>
                <a:lnTo>
                  <a:pt x="7088212" y="1"/>
                </a:lnTo>
                <a:lnTo>
                  <a:pt x="7088212" y="195109"/>
                </a:lnTo>
                <a:lnTo>
                  <a:pt x="5518218" y="3434542"/>
                </a:lnTo>
                <a:lnTo>
                  <a:pt x="7088212" y="6655729"/>
                </a:lnTo>
                <a:lnTo>
                  <a:pt x="7088212" y="6858000"/>
                </a:lnTo>
                <a:lnTo>
                  <a:pt x="6740201" y="6858000"/>
                </a:lnTo>
                <a:lnTo>
                  <a:pt x="5071618" y="3434542"/>
                </a:lnTo>
                <a:close/>
                <a:moveTo>
                  <a:pt x="6238549" y="1"/>
                </a:moveTo>
                <a:lnTo>
                  <a:pt x="6692444" y="1"/>
                </a:lnTo>
                <a:lnTo>
                  <a:pt x="5027891" y="3434542"/>
                </a:lnTo>
                <a:lnTo>
                  <a:pt x="6696474" y="6858000"/>
                </a:lnTo>
                <a:lnTo>
                  <a:pt x="6241989" y="6858000"/>
                </a:lnTo>
                <a:lnTo>
                  <a:pt x="4573406" y="3434542"/>
                </a:lnTo>
                <a:close/>
                <a:moveTo>
                  <a:pt x="5748221" y="1"/>
                </a:moveTo>
                <a:lnTo>
                  <a:pt x="6194231" y="1"/>
                </a:lnTo>
                <a:lnTo>
                  <a:pt x="4529678" y="3434542"/>
                </a:lnTo>
                <a:lnTo>
                  <a:pt x="6198261" y="6858000"/>
                </a:lnTo>
                <a:lnTo>
                  <a:pt x="5751661" y="6858000"/>
                </a:lnTo>
                <a:lnTo>
                  <a:pt x="4083078" y="3434542"/>
                </a:lnTo>
                <a:close/>
                <a:moveTo>
                  <a:pt x="5257893" y="1"/>
                </a:moveTo>
                <a:lnTo>
                  <a:pt x="5696019" y="1"/>
                </a:lnTo>
                <a:lnTo>
                  <a:pt x="4031465" y="3434542"/>
                </a:lnTo>
                <a:lnTo>
                  <a:pt x="5700048" y="6858000"/>
                </a:lnTo>
                <a:lnTo>
                  <a:pt x="5261334" y="6858000"/>
                </a:lnTo>
                <a:lnTo>
                  <a:pt x="3592751" y="3434542"/>
                </a:lnTo>
                <a:close/>
                <a:moveTo>
                  <a:pt x="4787634" y="1"/>
                </a:moveTo>
                <a:lnTo>
                  <a:pt x="5178319" y="1"/>
                </a:lnTo>
                <a:lnTo>
                  <a:pt x="3513176" y="3434542"/>
                </a:lnTo>
                <a:lnTo>
                  <a:pt x="5182449" y="6858000"/>
                </a:lnTo>
                <a:lnTo>
                  <a:pt x="4791074" y="6858000"/>
                </a:lnTo>
                <a:lnTo>
                  <a:pt x="3122491" y="3434542"/>
                </a:lnTo>
                <a:close/>
                <a:moveTo>
                  <a:pt x="4309493" y="1"/>
                </a:moveTo>
                <a:lnTo>
                  <a:pt x="4668049" y="1"/>
                </a:lnTo>
                <a:lnTo>
                  <a:pt x="3003495" y="3434542"/>
                </a:lnTo>
                <a:lnTo>
                  <a:pt x="4672078" y="6858000"/>
                </a:lnTo>
                <a:lnTo>
                  <a:pt x="4312934" y="6858000"/>
                </a:lnTo>
                <a:lnTo>
                  <a:pt x="2644351" y="3434542"/>
                </a:lnTo>
                <a:close/>
                <a:moveTo>
                  <a:pt x="3827179" y="1"/>
                </a:moveTo>
                <a:lnTo>
                  <a:pt x="4161821" y="1"/>
                </a:lnTo>
                <a:lnTo>
                  <a:pt x="2496679" y="3434542"/>
                </a:lnTo>
                <a:lnTo>
                  <a:pt x="4165951" y="6858000"/>
                </a:lnTo>
                <a:lnTo>
                  <a:pt x="3831208" y="6858000"/>
                </a:lnTo>
                <a:lnTo>
                  <a:pt x="2162625" y="3434542"/>
                </a:lnTo>
                <a:close/>
                <a:moveTo>
                  <a:pt x="3396278" y="1"/>
                </a:moveTo>
                <a:lnTo>
                  <a:pt x="3658775" y="1"/>
                </a:lnTo>
                <a:lnTo>
                  <a:pt x="1994222" y="3434542"/>
                </a:lnTo>
                <a:lnTo>
                  <a:pt x="3662804" y="6858000"/>
                </a:lnTo>
                <a:lnTo>
                  <a:pt x="3399719" y="6858000"/>
                </a:lnTo>
                <a:lnTo>
                  <a:pt x="1731136" y="3434542"/>
                </a:lnTo>
                <a:close/>
                <a:moveTo>
                  <a:pt x="2965904" y="0"/>
                </a:moveTo>
                <a:lnTo>
                  <a:pt x="3196732" y="0"/>
                </a:lnTo>
                <a:lnTo>
                  <a:pt x="1531590" y="3434542"/>
                </a:lnTo>
                <a:lnTo>
                  <a:pt x="3200863" y="6858000"/>
                </a:lnTo>
                <a:lnTo>
                  <a:pt x="2969345" y="6858000"/>
                </a:lnTo>
                <a:lnTo>
                  <a:pt x="1300762" y="3434542"/>
                </a:lnTo>
                <a:close/>
                <a:moveTo>
                  <a:pt x="2506592" y="0"/>
                </a:moveTo>
                <a:lnTo>
                  <a:pt x="2690136" y="0"/>
                </a:lnTo>
                <a:lnTo>
                  <a:pt x="1025582" y="3434542"/>
                </a:lnTo>
                <a:lnTo>
                  <a:pt x="2694165" y="6858000"/>
                </a:lnTo>
                <a:lnTo>
                  <a:pt x="2510651" y="6858000"/>
                </a:lnTo>
                <a:lnTo>
                  <a:pt x="842068" y="3434542"/>
                </a:lnTo>
                <a:lnTo>
                  <a:pt x="859272" y="3398698"/>
                </a:lnTo>
                <a:close/>
                <a:moveTo>
                  <a:pt x="2066862" y="0"/>
                </a:moveTo>
                <a:lnTo>
                  <a:pt x="2178634" y="0"/>
                </a:lnTo>
                <a:lnTo>
                  <a:pt x="513490" y="3434542"/>
                </a:lnTo>
                <a:lnTo>
                  <a:pt x="2182763" y="6858000"/>
                </a:lnTo>
                <a:lnTo>
                  <a:pt x="2070961" y="6858000"/>
                </a:lnTo>
                <a:lnTo>
                  <a:pt x="402378" y="3434542"/>
                </a:lnTo>
                <a:lnTo>
                  <a:pt x="412414" y="3413036"/>
                </a:lnTo>
                <a:close/>
                <a:moveTo>
                  <a:pt x="1664655" y="0"/>
                </a:moveTo>
                <a:lnTo>
                  <a:pt x="1736238" y="0"/>
                </a:lnTo>
                <a:lnTo>
                  <a:pt x="71684" y="3434542"/>
                </a:lnTo>
                <a:lnTo>
                  <a:pt x="1740267" y="6858000"/>
                </a:lnTo>
                <a:lnTo>
                  <a:pt x="1668582" y="6858000"/>
                </a:lnTo>
                <a:lnTo>
                  <a:pt x="0" y="3434545"/>
                </a:lnTo>
                <a:lnTo>
                  <a:pt x="0" y="3434539"/>
                </a:lnTo>
                <a:lnTo>
                  <a:pt x="7167" y="3420921"/>
                </a:lnTo>
                <a:close/>
              </a:path>
            </a:pathLst>
          </a:custGeom>
          <a:solidFill>
            <a:schemeClr val="bg1"/>
          </a:solidFill>
          <a:effectLst>
            <a:outerShdw blurRad="254000" algn="ctr" rotWithShape="0">
              <a:schemeClr val="accent4">
                <a:alpha val="20000"/>
              </a:schemeClr>
            </a:outerShdw>
          </a:effectLst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>
                <a:solidFill>
                  <a:schemeClr val="tx1"/>
                </a:solidFill>
              </a:defRPr>
            </a:lvl1pPr>
          </a:lstStyle>
          <a:p>
            <a:pPr marL="146300" lvl="0" indent="-146300" algn="ctr"/>
            <a:r>
              <a:rPr lang="en-US" dirty="0"/>
              <a:t>Imag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3FE2BF8-828C-43E9-9772-0F79DCCE205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C9E9335-3BFA-47D7-9AF2-87A541D84915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EC883F4E-2F81-4391-AF85-48360AD41C5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8138" y="3227297"/>
            <a:ext cx="1242834" cy="1306603"/>
          </a:xfrm>
          <a:prstGeom prst="rect">
            <a:avLst/>
          </a:prstGeom>
          <a:noFill/>
          <a:effectLst/>
        </p:spPr>
        <p:txBody>
          <a:bodyPr vert="horz" wrap="none"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8800" b="1" spc="-226" baseline="0">
                <a:solidFill>
                  <a:schemeClr val="accent1"/>
                </a:solidFill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02" name="Text Placeholder 5">
            <a:extLst>
              <a:ext uri="{FF2B5EF4-FFF2-40B4-BE49-F238E27FC236}">
                <a16:creationId xmlns:a16="http://schemas.microsoft.com/office/drawing/2014/main" id="{D45EA242-18FC-4A96-9615-B392A4282B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26249" y="3364992"/>
            <a:ext cx="2820113" cy="1930908"/>
          </a:xfrm>
          <a:noFill/>
          <a:effectLst/>
        </p:spPr>
        <p:txBody>
          <a:bodyPr lIns="0" tIns="0" rIns="0" bIns="0">
            <a:normAutofit/>
          </a:bodyPr>
          <a:lstStyle>
            <a:lvl1pPr marL="0" indent="0">
              <a:spcBef>
                <a:spcPts val="400"/>
              </a:spcBef>
              <a:buFont typeface="Arial" panose="020B0604020202020204" pitchFamily="34" charset="0"/>
              <a:buNone/>
              <a:defRPr sz="2133" b="0">
                <a:solidFill>
                  <a:schemeClr val="accent1"/>
                </a:solidFill>
              </a:defRPr>
            </a:lvl1pPr>
            <a:lvl2pPr marL="170684" indent="0">
              <a:buNone/>
              <a:defRPr sz="2133" b="0"/>
            </a:lvl2pPr>
            <a:lvl3pPr marL="329176" indent="0">
              <a:buNone/>
              <a:defRPr sz="2133" b="0"/>
            </a:lvl3pPr>
            <a:lvl4pPr marL="621776" indent="0">
              <a:buFont typeface="Arial" panose="020B0604020202020204" pitchFamily="34" charset="0"/>
              <a:buNone/>
              <a:defRPr sz="2133" b="0"/>
            </a:lvl4pPr>
            <a:lvl5pPr marL="804652" indent="0">
              <a:buNone/>
              <a:defRPr sz="2133" b="0"/>
            </a:lvl5pPr>
          </a:lstStyle>
          <a:p>
            <a:pPr lvl="0"/>
            <a:r>
              <a:rPr lang="en-US" dirty="0"/>
              <a:t>Insert subtitle</a:t>
            </a:r>
            <a:br>
              <a:rPr lang="en-US" dirty="0"/>
            </a:br>
            <a:r>
              <a:rPr lang="en-US" dirty="0"/>
              <a:t>here.</a:t>
            </a:r>
          </a:p>
        </p:txBody>
      </p:sp>
      <p:sp>
        <p:nvSpPr>
          <p:cNvPr id="103" name="Title 1">
            <a:extLst>
              <a:ext uri="{FF2B5EF4-FFF2-40B4-BE49-F238E27FC236}">
                <a16:creationId xmlns:a16="http://schemas.microsoft.com/office/drawing/2014/main" id="{D206086A-C24E-4C32-AB1D-EEBB7106F1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325" y="338138"/>
            <a:ext cx="4734424" cy="2904934"/>
          </a:xfrm>
        </p:spPr>
        <p:txBody>
          <a:bodyPr tIns="0" bIns="0" anchor="b" anchorCtr="0">
            <a:normAutofit/>
          </a:bodyPr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a section 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D6B2F61-829E-422D-8CE4-90DDB3B6EBFB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7C659114-22F9-433B-800F-E48EEF270372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F49EE81B-163B-4672-805B-D25E9219783C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E736EFAB-11E1-4E06-A703-BCF4117D510A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207C73E4-CA5A-40DD-8C9E-B72A37CD5566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A4EBE15A-185B-4C0B-8304-A146976B610D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640112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8667" y="1559985"/>
            <a:ext cx="11514667" cy="4728633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C05687A3-E7FA-46E9-958A-EB5258B07F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15344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3396582D-E7B2-4DDB-B795-AF6AA31D59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64" y="293065"/>
            <a:ext cx="11535869" cy="480000"/>
          </a:xfrm>
        </p:spPr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C415B83-E43B-410B-9532-581D9B41B6F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38492E0-1858-405E-BEDD-55B30A698711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12E21B9F-D512-498F-94A2-98E14C5998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18641E9-81A2-4AAD-AD7C-8DACF932444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6">
            <a:extLst>
              <a:ext uri="{FF2B5EF4-FFF2-40B4-BE49-F238E27FC236}">
                <a16:creationId xmlns:a16="http://schemas.microsoft.com/office/drawing/2014/main" id="{B4DD181C-FA3B-411E-9C42-694A49735591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222B2885-7BB7-4B97-B803-91F14F9D27E7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8EB5522B-1BFF-48E0-8A5E-F241F4F0F1A1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34711B6D-2837-414D-9681-4FD63724B550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3758C79B-4536-4988-AD20-1C3A0DAADE7D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A630F925-59F3-46D8-B14C-9FF36498B8F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0821980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2">
            <a:extLst>
              <a:ext uri="{FF2B5EF4-FFF2-40B4-BE49-F238E27FC236}">
                <a16:creationId xmlns:a16="http://schemas.microsoft.com/office/drawing/2014/main" id="{18F1FE93-E7D3-4ED9-97B9-B1FD569B5F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9FA0099B-9F48-4AD3-BF82-C2ECA534EC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15344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3E8899FA-2C85-4ACE-A5AC-D429706C6DD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89FD56D-1B81-4F22-93F2-48FE7E829E94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BB83913-8199-4E1C-9350-2EC7CD08677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82B9C87-7C08-49B1-9899-F7EBC2E5DF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342F693-A5F9-46AF-986B-06E2C926930E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BDD51EF5-B681-43C3-8C44-0A3086F8DC29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52CD0E52-13C9-4A81-9814-203DC5D0D531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68FA240F-06A0-4630-854D-203DBCFB8286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F4F9D75F-EB5B-42AA-8DFB-112318E5824B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E7C9901C-E0EF-4C99-9EDC-3428B29D0D8B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55961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A380F7B4-EA01-4AD2-AED2-5AC6CB20B0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1B706C-E063-4CD4-A4A4-16914DEA2286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A73CEB5D-1EA9-404A-94AE-EB5C34B719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D8F3C7F-CE58-4DCB-9D88-DAC48868F9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oup 6">
            <a:extLst>
              <a:ext uri="{FF2B5EF4-FFF2-40B4-BE49-F238E27FC236}">
                <a16:creationId xmlns:a16="http://schemas.microsoft.com/office/drawing/2014/main" id="{4CD3101B-7994-4FE5-B181-9EB4F6675305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70AE421D-5BE1-4541-8875-8E3FDBE18344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3265BD79-E16D-4CB5-9D87-5F26A9CA997F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CEBB5CC3-8A1F-4FFF-9544-4586D170506E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B5FCD611-6AA1-47C1-906B-D60B7C8E88EE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72DF9A97-AF64-49D4-A7C1-C30DD83C3D32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67627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to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pour une image  8">
            <a:extLst>
              <a:ext uri="{FF2B5EF4-FFF2-40B4-BE49-F238E27FC236}">
                <a16:creationId xmlns:a16="http://schemas.microsoft.com/office/drawing/2014/main" id="{18818745-B376-4E79-B145-460BE1ACD90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3221665" cy="6858000"/>
          </a:xfrm>
          <a:prstGeom prst="rect">
            <a:avLst/>
          </a:prstGeom>
          <a:solidFill>
            <a:schemeClr val="tx2"/>
          </a:solidFill>
          <a:effectLst>
            <a:outerShdw blurRad="254000" algn="ctr" rotWithShape="0">
              <a:schemeClr val="accent4">
                <a:alpha val="20000"/>
              </a:schemeClr>
            </a:outerShdw>
          </a:effectLst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200">
                <a:solidFill>
                  <a:schemeClr val="bg1"/>
                </a:solidFill>
              </a:defRPr>
            </a:lvl1pPr>
          </a:lstStyle>
          <a:p>
            <a:pPr marL="146300" lvl="0" indent="-146300" algn="ctr"/>
            <a:r>
              <a:rPr lang="en-US" dirty="0"/>
              <a:t>Image</a:t>
            </a: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18F1FE93-E7D3-4ED9-97B9-B1FD569B5F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1767" y="293065"/>
            <a:ext cx="6603946" cy="961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9FA0099B-9F48-4AD3-BF82-C2ECA534EC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41767" y="1317600"/>
            <a:ext cx="6603946" cy="295465"/>
          </a:xfrm>
          <a:noFill/>
          <a:effectLst/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3" name="Espace réservé du texte 52">
            <a:extLst>
              <a:ext uri="{FF2B5EF4-FFF2-40B4-BE49-F238E27FC236}">
                <a16:creationId xmlns:a16="http://schemas.microsoft.com/office/drawing/2014/main" id="{957D4790-9F32-4D43-AEAB-567FD899570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06232" y="6460526"/>
            <a:ext cx="889143" cy="223961"/>
          </a:xfrm>
          <a:custGeom>
            <a:avLst/>
            <a:gdLst>
              <a:gd name="connsiteX0" fmla="*/ 835172 w 889143"/>
              <a:gd name="connsiteY0" fmla="*/ 76769 h 223961"/>
              <a:gd name="connsiteX1" fmla="*/ 814718 w 889143"/>
              <a:gd name="connsiteY1" fmla="*/ 128525 h 223961"/>
              <a:gd name="connsiteX2" fmla="*/ 855660 w 889143"/>
              <a:gd name="connsiteY2" fmla="*/ 128525 h 223961"/>
              <a:gd name="connsiteX3" fmla="*/ 388098 w 889143"/>
              <a:gd name="connsiteY3" fmla="*/ 76313 h 223961"/>
              <a:gd name="connsiteX4" fmla="*/ 388098 w 889143"/>
              <a:gd name="connsiteY4" fmla="*/ 153247 h 223961"/>
              <a:gd name="connsiteX5" fmla="*/ 405295 w 889143"/>
              <a:gd name="connsiteY5" fmla="*/ 153247 h 223961"/>
              <a:gd name="connsiteX6" fmla="*/ 431809 w 889143"/>
              <a:gd name="connsiteY6" fmla="*/ 144843 h 223961"/>
              <a:gd name="connsiteX7" fmla="*/ 439723 w 889143"/>
              <a:gd name="connsiteY7" fmla="*/ 135984 h 223961"/>
              <a:gd name="connsiteX8" fmla="*/ 445782 w 889143"/>
              <a:gd name="connsiteY8" fmla="*/ 115008 h 223961"/>
              <a:gd name="connsiteX9" fmla="*/ 431809 w 889143"/>
              <a:gd name="connsiteY9" fmla="*/ 84716 h 223961"/>
              <a:gd name="connsiteX10" fmla="*/ 405295 w 889143"/>
              <a:gd name="connsiteY10" fmla="*/ 76313 h 223961"/>
              <a:gd name="connsiteX11" fmla="*/ 825401 w 889143"/>
              <a:gd name="connsiteY11" fmla="*/ 60451 h 223961"/>
              <a:gd name="connsiteX12" fmla="*/ 845400 w 889143"/>
              <a:gd name="connsiteY12" fmla="*/ 60451 h 223961"/>
              <a:gd name="connsiteX13" fmla="*/ 889143 w 889143"/>
              <a:gd name="connsiteY13" fmla="*/ 169109 h 223961"/>
              <a:gd name="connsiteX14" fmla="*/ 871457 w 889143"/>
              <a:gd name="connsiteY14" fmla="*/ 169109 h 223961"/>
              <a:gd name="connsiteX15" fmla="*/ 861685 w 889143"/>
              <a:gd name="connsiteY15" fmla="*/ 143475 h 223961"/>
              <a:gd name="connsiteX16" fmla="*/ 808659 w 889143"/>
              <a:gd name="connsiteY16" fmla="*/ 143475 h 223961"/>
              <a:gd name="connsiteX17" fmla="*/ 798432 w 889143"/>
              <a:gd name="connsiteY17" fmla="*/ 169109 h 223961"/>
              <a:gd name="connsiteX18" fmla="*/ 780746 w 889143"/>
              <a:gd name="connsiteY18" fmla="*/ 169109 h 223961"/>
              <a:gd name="connsiteX19" fmla="*/ 742572 w 889143"/>
              <a:gd name="connsiteY19" fmla="*/ 60451 h 223961"/>
              <a:gd name="connsiteX20" fmla="*/ 759770 w 889143"/>
              <a:gd name="connsiteY20" fmla="*/ 60451 h 223961"/>
              <a:gd name="connsiteX21" fmla="*/ 759770 w 889143"/>
              <a:gd name="connsiteY21" fmla="*/ 169109 h 223961"/>
              <a:gd name="connsiteX22" fmla="*/ 742572 w 889143"/>
              <a:gd name="connsiteY22" fmla="*/ 169109 h 223961"/>
              <a:gd name="connsiteX23" fmla="*/ 590952 w 889143"/>
              <a:gd name="connsiteY23" fmla="*/ 60451 h 223961"/>
              <a:gd name="connsiteX24" fmla="*/ 613752 w 889143"/>
              <a:gd name="connsiteY24" fmla="*/ 60451 h 223961"/>
              <a:gd name="connsiteX25" fmla="*/ 649092 w 889143"/>
              <a:gd name="connsiteY25" fmla="*/ 144387 h 223961"/>
              <a:gd name="connsiteX26" fmla="*/ 683944 w 889143"/>
              <a:gd name="connsiteY26" fmla="*/ 60451 h 223961"/>
              <a:gd name="connsiteX27" fmla="*/ 707688 w 889143"/>
              <a:gd name="connsiteY27" fmla="*/ 60451 h 223961"/>
              <a:gd name="connsiteX28" fmla="*/ 707688 w 889143"/>
              <a:gd name="connsiteY28" fmla="*/ 169109 h 223961"/>
              <a:gd name="connsiteX29" fmla="*/ 690458 w 889143"/>
              <a:gd name="connsiteY29" fmla="*/ 169044 h 223961"/>
              <a:gd name="connsiteX30" fmla="*/ 690458 w 889143"/>
              <a:gd name="connsiteY30" fmla="*/ 87420 h 223961"/>
              <a:gd name="connsiteX31" fmla="*/ 690034 w 889143"/>
              <a:gd name="connsiteY31" fmla="*/ 87420 h 223961"/>
              <a:gd name="connsiteX32" fmla="*/ 655997 w 889143"/>
              <a:gd name="connsiteY32" fmla="*/ 169109 h 223961"/>
              <a:gd name="connsiteX33" fmla="*/ 641601 w 889143"/>
              <a:gd name="connsiteY33" fmla="*/ 169109 h 223961"/>
              <a:gd name="connsiteX34" fmla="*/ 608150 w 889143"/>
              <a:gd name="connsiteY34" fmla="*/ 87973 h 223961"/>
              <a:gd name="connsiteX35" fmla="*/ 607694 w 889143"/>
              <a:gd name="connsiteY35" fmla="*/ 87973 h 223961"/>
              <a:gd name="connsiteX36" fmla="*/ 607694 w 889143"/>
              <a:gd name="connsiteY36" fmla="*/ 169109 h 223961"/>
              <a:gd name="connsiteX37" fmla="*/ 590952 w 889143"/>
              <a:gd name="connsiteY37" fmla="*/ 169109 h 223961"/>
              <a:gd name="connsiteX38" fmla="*/ 491382 w 889143"/>
              <a:gd name="connsiteY38" fmla="*/ 60451 h 223961"/>
              <a:gd name="connsiteX39" fmla="*/ 561182 w 889143"/>
              <a:gd name="connsiteY39" fmla="*/ 60451 h 223961"/>
              <a:gd name="connsiteX40" fmla="*/ 561182 w 889143"/>
              <a:gd name="connsiteY40" fmla="*/ 75824 h 223961"/>
              <a:gd name="connsiteX41" fmla="*/ 508612 w 889143"/>
              <a:gd name="connsiteY41" fmla="*/ 75824 h 223961"/>
              <a:gd name="connsiteX42" fmla="*/ 508612 w 889143"/>
              <a:gd name="connsiteY42" fmla="*/ 106148 h 223961"/>
              <a:gd name="connsiteX43" fmla="*/ 556524 w 889143"/>
              <a:gd name="connsiteY43" fmla="*/ 106148 h 223961"/>
              <a:gd name="connsiteX44" fmla="*/ 556524 w 889143"/>
              <a:gd name="connsiteY44" fmla="*/ 121555 h 223961"/>
              <a:gd name="connsiteX45" fmla="*/ 508612 w 889143"/>
              <a:gd name="connsiteY45" fmla="*/ 121555 h 223961"/>
              <a:gd name="connsiteX46" fmla="*/ 508612 w 889143"/>
              <a:gd name="connsiteY46" fmla="*/ 153735 h 223961"/>
              <a:gd name="connsiteX47" fmla="*/ 561606 w 889143"/>
              <a:gd name="connsiteY47" fmla="*/ 153735 h 223961"/>
              <a:gd name="connsiteX48" fmla="*/ 561606 w 889143"/>
              <a:gd name="connsiteY48" fmla="*/ 169109 h 223961"/>
              <a:gd name="connsiteX49" fmla="*/ 491382 w 889143"/>
              <a:gd name="connsiteY49" fmla="*/ 169109 h 223961"/>
              <a:gd name="connsiteX50" fmla="*/ 371258 w 889143"/>
              <a:gd name="connsiteY50" fmla="*/ 60451 h 223961"/>
              <a:gd name="connsiteX51" fmla="*/ 405784 w 889143"/>
              <a:gd name="connsiteY51" fmla="*/ 60451 h 223961"/>
              <a:gd name="connsiteX52" fmla="*/ 435554 w 889143"/>
              <a:gd name="connsiteY52" fmla="*/ 66965 h 223961"/>
              <a:gd name="connsiteX53" fmla="*/ 454153 w 889143"/>
              <a:gd name="connsiteY53" fmla="*/ 83772 h 223961"/>
              <a:gd name="connsiteX54" fmla="*/ 463468 w 889143"/>
              <a:gd name="connsiteY54" fmla="*/ 115008 h 223961"/>
              <a:gd name="connsiteX55" fmla="*/ 463370 w 889143"/>
              <a:gd name="connsiteY55" fmla="*/ 115008 h 223961"/>
              <a:gd name="connsiteX56" fmla="*/ 443339 w 889143"/>
              <a:gd name="connsiteY56" fmla="*/ 156992 h 223961"/>
              <a:gd name="connsiteX57" fmla="*/ 405686 w 889143"/>
              <a:gd name="connsiteY57" fmla="*/ 169109 h 223961"/>
              <a:gd name="connsiteX58" fmla="*/ 371258 w 889143"/>
              <a:gd name="connsiteY58" fmla="*/ 169109 h 223961"/>
              <a:gd name="connsiteX59" fmla="*/ 319144 w 889143"/>
              <a:gd name="connsiteY59" fmla="*/ 60451 h 223961"/>
              <a:gd name="connsiteX60" fmla="*/ 335886 w 889143"/>
              <a:gd name="connsiteY60" fmla="*/ 60451 h 223961"/>
              <a:gd name="connsiteX61" fmla="*/ 335886 w 889143"/>
              <a:gd name="connsiteY61" fmla="*/ 169109 h 223961"/>
              <a:gd name="connsiteX62" fmla="*/ 319144 w 889143"/>
              <a:gd name="connsiteY62" fmla="*/ 169109 h 223961"/>
              <a:gd name="connsiteX63" fmla="*/ 184484 w 889143"/>
              <a:gd name="connsiteY63" fmla="*/ 0 h 223961"/>
              <a:gd name="connsiteX64" fmla="*/ 205623 w 889143"/>
              <a:gd name="connsiteY64" fmla="*/ 0 h 223961"/>
              <a:gd name="connsiteX65" fmla="*/ 265391 w 889143"/>
              <a:gd name="connsiteY65" fmla="*/ 111981 h 223961"/>
              <a:gd name="connsiteX66" fmla="*/ 205623 w 889143"/>
              <a:gd name="connsiteY66" fmla="*/ 223961 h 223961"/>
              <a:gd name="connsiteX67" fmla="*/ 184940 w 889143"/>
              <a:gd name="connsiteY67" fmla="*/ 223961 h 223961"/>
              <a:gd name="connsiteX68" fmla="*/ 244708 w 889143"/>
              <a:gd name="connsiteY68" fmla="*/ 111981 h 223961"/>
              <a:gd name="connsiteX69" fmla="*/ 144226 w 889143"/>
              <a:gd name="connsiteY69" fmla="*/ 0 h 223961"/>
              <a:gd name="connsiteX70" fmla="*/ 163475 w 889143"/>
              <a:gd name="connsiteY70" fmla="*/ 0 h 223961"/>
              <a:gd name="connsiteX71" fmla="*/ 185656 w 889143"/>
              <a:gd name="connsiteY71" fmla="*/ 111981 h 223961"/>
              <a:gd name="connsiteX72" fmla="*/ 163475 w 889143"/>
              <a:gd name="connsiteY72" fmla="*/ 223961 h 223961"/>
              <a:gd name="connsiteX73" fmla="*/ 144681 w 889143"/>
              <a:gd name="connsiteY73" fmla="*/ 223961 h 223961"/>
              <a:gd name="connsiteX74" fmla="*/ 167058 w 889143"/>
              <a:gd name="connsiteY74" fmla="*/ 111981 h 223961"/>
              <a:gd name="connsiteX75" fmla="*/ 101785 w 889143"/>
              <a:gd name="connsiteY75" fmla="*/ 0 h 223961"/>
              <a:gd name="connsiteX76" fmla="*/ 120384 w 889143"/>
              <a:gd name="connsiteY76" fmla="*/ 0 h 223961"/>
              <a:gd name="connsiteX77" fmla="*/ 98170 w 889143"/>
              <a:gd name="connsiteY77" fmla="*/ 111981 h 223961"/>
              <a:gd name="connsiteX78" fmla="*/ 120384 w 889143"/>
              <a:gd name="connsiteY78" fmla="*/ 223961 h 223961"/>
              <a:gd name="connsiteX79" fmla="*/ 101785 w 889143"/>
              <a:gd name="connsiteY79" fmla="*/ 223961 h 223961"/>
              <a:gd name="connsiteX80" fmla="*/ 79344 w 889143"/>
              <a:gd name="connsiteY80" fmla="*/ 111981 h 223961"/>
              <a:gd name="connsiteX81" fmla="*/ 59410 w 889143"/>
              <a:gd name="connsiteY81" fmla="*/ 0 h 223961"/>
              <a:gd name="connsiteX82" fmla="*/ 79735 w 889143"/>
              <a:gd name="connsiteY82" fmla="*/ 0 h 223961"/>
              <a:gd name="connsiteX83" fmla="*/ 20325 w 889143"/>
              <a:gd name="connsiteY83" fmla="*/ 111981 h 223961"/>
              <a:gd name="connsiteX84" fmla="*/ 79735 w 889143"/>
              <a:gd name="connsiteY84" fmla="*/ 223961 h 223961"/>
              <a:gd name="connsiteX85" fmla="*/ 59410 w 889143"/>
              <a:gd name="connsiteY85" fmla="*/ 223961 h 223961"/>
              <a:gd name="connsiteX86" fmla="*/ 0 w 889143"/>
              <a:gd name="connsiteY86" fmla="*/ 111981 h 223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889143" h="223961">
                <a:moveTo>
                  <a:pt x="835172" y="76769"/>
                </a:moveTo>
                <a:lnTo>
                  <a:pt x="814718" y="128525"/>
                </a:lnTo>
                <a:lnTo>
                  <a:pt x="855660" y="128525"/>
                </a:lnTo>
                <a:close/>
                <a:moveTo>
                  <a:pt x="388098" y="76313"/>
                </a:moveTo>
                <a:lnTo>
                  <a:pt x="388098" y="153247"/>
                </a:lnTo>
                <a:lnTo>
                  <a:pt x="405295" y="153247"/>
                </a:lnTo>
                <a:cubicBezTo>
                  <a:pt x="414845" y="153637"/>
                  <a:pt x="424226" y="150664"/>
                  <a:pt x="431809" y="144843"/>
                </a:cubicBezTo>
                <a:cubicBezTo>
                  <a:pt x="434932" y="142364"/>
                  <a:pt x="437610" y="139368"/>
                  <a:pt x="439723" y="135984"/>
                </a:cubicBezTo>
                <a:cubicBezTo>
                  <a:pt x="443766" y="129740"/>
                  <a:pt x="445873" y="122444"/>
                  <a:pt x="445782" y="115008"/>
                </a:cubicBezTo>
                <a:cubicBezTo>
                  <a:pt x="445837" y="103341"/>
                  <a:pt x="440720" y="92247"/>
                  <a:pt x="431809" y="84716"/>
                </a:cubicBezTo>
                <a:cubicBezTo>
                  <a:pt x="424226" y="78896"/>
                  <a:pt x="414845" y="75922"/>
                  <a:pt x="405295" y="76313"/>
                </a:cubicBezTo>
                <a:close/>
                <a:moveTo>
                  <a:pt x="825401" y="60451"/>
                </a:moveTo>
                <a:lnTo>
                  <a:pt x="845400" y="60451"/>
                </a:lnTo>
                <a:lnTo>
                  <a:pt x="889143" y="169109"/>
                </a:lnTo>
                <a:lnTo>
                  <a:pt x="871457" y="169109"/>
                </a:lnTo>
                <a:lnTo>
                  <a:pt x="861685" y="143475"/>
                </a:lnTo>
                <a:lnTo>
                  <a:pt x="808659" y="143475"/>
                </a:lnTo>
                <a:lnTo>
                  <a:pt x="798432" y="169109"/>
                </a:lnTo>
                <a:lnTo>
                  <a:pt x="780746" y="169109"/>
                </a:lnTo>
                <a:close/>
                <a:moveTo>
                  <a:pt x="742572" y="60451"/>
                </a:moveTo>
                <a:lnTo>
                  <a:pt x="759770" y="60451"/>
                </a:lnTo>
                <a:lnTo>
                  <a:pt x="759770" y="169109"/>
                </a:lnTo>
                <a:lnTo>
                  <a:pt x="742572" y="169109"/>
                </a:lnTo>
                <a:close/>
                <a:moveTo>
                  <a:pt x="590952" y="60451"/>
                </a:moveTo>
                <a:lnTo>
                  <a:pt x="613752" y="60451"/>
                </a:lnTo>
                <a:lnTo>
                  <a:pt x="649092" y="144387"/>
                </a:lnTo>
                <a:lnTo>
                  <a:pt x="683944" y="60451"/>
                </a:lnTo>
                <a:lnTo>
                  <a:pt x="707688" y="60451"/>
                </a:lnTo>
                <a:lnTo>
                  <a:pt x="707688" y="169109"/>
                </a:lnTo>
                <a:lnTo>
                  <a:pt x="690458" y="169044"/>
                </a:lnTo>
                <a:lnTo>
                  <a:pt x="690458" y="87420"/>
                </a:lnTo>
                <a:lnTo>
                  <a:pt x="690034" y="87420"/>
                </a:lnTo>
                <a:lnTo>
                  <a:pt x="655997" y="169109"/>
                </a:lnTo>
                <a:lnTo>
                  <a:pt x="641601" y="169109"/>
                </a:lnTo>
                <a:lnTo>
                  <a:pt x="608150" y="87973"/>
                </a:lnTo>
                <a:lnTo>
                  <a:pt x="607694" y="87973"/>
                </a:lnTo>
                <a:lnTo>
                  <a:pt x="607694" y="169109"/>
                </a:lnTo>
                <a:lnTo>
                  <a:pt x="590952" y="169109"/>
                </a:lnTo>
                <a:close/>
                <a:moveTo>
                  <a:pt x="491382" y="60451"/>
                </a:moveTo>
                <a:lnTo>
                  <a:pt x="561182" y="60451"/>
                </a:lnTo>
                <a:lnTo>
                  <a:pt x="561182" y="75824"/>
                </a:lnTo>
                <a:lnTo>
                  <a:pt x="508612" y="75824"/>
                </a:lnTo>
                <a:lnTo>
                  <a:pt x="508612" y="106148"/>
                </a:lnTo>
                <a:lnTo>
                  <a:pt x="556524" y="106148"/>
                </a:lnTo>
                <a:lnTo>
                  <a:pt x="556524" y="121555"/>
                </a:lnTo>
                <a:lnTo>
                  <a:pt x="508612" y="121555"/>
                </a:lnTo>
                <a:lnTo>
                  <a:pt x="508612" y="153735"/>
                </a:lnTo>
                <a:lnTo>
                  <a:pt x="561606" y="153735"/>
                </a:lnTo>
                <a:lnTo>
                  <a:pt x="561606" y="169109"/>
                </a:lnTo>
                <a:lnTo>
                  <a:pt x="491382" y="169109"/>
                </a:lnTo>
                <a:close/>
                <a:moveTo>
                  <a:pt x="371258" y="60451"/>
                </a:moveTo>
                <a:lnTo>
                  <a:pt x="405784" y="60451"/>
                </a:lnTo>
                <a:cubicBezTo>
                  <a:pt x="416087" y="60203"/>
                  <a:pt x="426298" y="62437"/>
                  <a:pt x="435554" y="66965"/>
                </a:cubicBezTo>
                <a:cubicBezTo>
                  <a:pt x="443069" y="70916"/>
                  <a:pt x="449462" y="76697"/>
                  <a:pt x="454153" y="83772"/>
                </a:cubicBezTo>
                <a:cubicBezTo>
                  <a:pt x="460188" y="93074"/>
                  <a:pt x="463422" y="103917"/>
                  <a:pt x="463468" y="115008"/>
                </a:cubicBezTo>
                <a:lnTo>
                  <a:pt x="463370" y="115008"/>
                </a:lnTo>
                <a:cubicBezTo>
                  <a:pt x="463566" y="131352"/>
                  <a:pt x="456166" y="146863"/>
                  <a:pt x="443339" y="156992"/>
                </a:cubicBezTo>
                <a:cubicBezTo>
                  <a:pt x="435001" y="164451"/>
                  <a:pt x="421484" y="169109"/>
                  <a:pt x="405686" y="169109"/>
                </a:cubicBezTo>
                <a:lnTo>
                  <a:pt x="371258" y="169109"/>
                </a:lnTo>
                <a:close/>
                <a:moveTo>
                  <a:pt x="319144" y="60451"/>
                </a:moveTo>
                <a:lnTo>
                  <a:pt x="335886" y="60451"/>
                </a:lnTo>
                <a:lnTo>
                  <a:pt x="335886" y="169109"/>
                </a:lnTo>
                <a:lnTo>
                  <a:pt x="319144" y="169109"/>
                </a:lnTo>
                <a:close/>
                <a:moveTo>
                  <a:pt x="184484" y="0"/>
                </a:moveTo>
                <a:lnTo>
                  <a:pt x="205623" y="0"/>
                </a:lnTo>
                <a:lnTo>
                  <a:pt x="265391" y="111981"/>
                </a:lnTo>
                <a:lnTo>
                  <a:pt x="205623" y="223961"/>
                </a:lnTo>
                <a:lnTo>
                  <a:pt x="184940" y="223961"/>
                </a:lnTo>
                <a:lnTo>
                  <a:pt x="244708" y="111981"/>
                </a:lnTo>
                <a:close/>
                <a:moveTo>
                  <a:pt x="144226" y="0"/>
                </a:moveTo>
                <a:lnTo>
                  <a:pt x="163475" y="0"/>
                </a:lnTo>
                <a:lnTo>
                  <a:pt x="185656" y="111981"/>
                </a:lnTo>
                <a:lnTo>
                  <a:pt x="163475" y="223961"/>
                </a:lnTo>
                <a:lnTo>
                  <a:pt x="144681" y="223961"/>
                </a:lnTo>
                <a:lnTo>
                  <a:pt x="167058" y="111981"/>
                </a:lnTo>
                <a:close/>
                <a:moveTo>
                  <a:pt x="101785" y="0"/>
                </a:moveTo>
                <a:lnTo>
                  <a:pt x="120384" y="0"/>
                </a:lnTo>
                <a:lnTo>
                  <a:pt x="98170" y="111981"/>
                </a:lnTo>
                <a:lnTo>
                  <a:pt x="120384" y="223961"/>
                </a:lnTo>
                <a:lnTo>
                  <a:pt x="101785" y="223961"/>
                </a:lnTo>
                <a:lnTo>
                  <a:pt x="79344" y="111981"/>
                </a:lnTo>
                <a:close/>
                <a:moveTo>
                  <a:pt x="59410" y="0"/>
                </a:moveTo>
                <a:lnTo>
                  <a:pt x="79735" y="0"/>
                </a:lnTo>
                <a:lnTo>
                  <a:pt x="20325" y="111981"/>
                </a:lnTo>
                <a:lnTo>
                  <a:pt x="79735" y="223961"/>
                </a:lnTo>
                <a:lnTo>
                  <a:pt x="59410" y="223961"/>
                </a:lnTo>
                <a:lnTo>
                  <a:pt x="0" y="111981"/>
                </a:lnTo>
                <a:close/>
              </a:path>
            </a:pathLst>
          </a:custGeom>
          <a:solidFill>
            <a:schemeClr val="bg1"/>
          </a:solidFill>
          <a:effectLst/>
        </p:spPr>
        <p:txBody>
          <a:bodyPr wrap="square" lIns="0" tIns="0" rIns="0" bIns="0"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100" b="0">
                <a:noFill/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100" b="0">
                <a:noFill/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100" b="0">
                <a:noFill/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100" b="0">
                <a:noFill/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100" b="0">
                <a:noFill/>
              </a:defRPr>
            </a:lvl9pPr>
          </a:lstStyle>
          <a:p>
            <a:pPr lvl="0"/>
            <a:r>
              <a:rPr lang="en-US" dirty="0"/>
              <a:t>01</a:t>
            </a:r>
          </a:p>
          <a:p>
            <a:pPr lvl="1"/>
            <a:r>
              <a:rPr lang="en-US" dirty="0"/>
              <a:t>02</a:t>
            </a:r>
          </a:p>
          <a:p>
            <a:pPr lvl="2"/>
            <a:r>
              <a:rPr lang="en-US" dirty="0"/>
              <a:t>03</a:t>
            </a:r>
          </a:p>
          <a:p>
            <a:pPr lvl="3"/>
            <a:r>
              <a:rPr lang="en-US" dirty="0"/>
              <a:t>04</a:t>
            </a:r>
          </a:p>
          <a:p>
            <a:pPr lvl="4"/>
            <a:r>
              <a:rPr lang="en-US" dirty="0"/>
              <a:t>05</a:t>
            </a:r>
          </a:p>
          <a:p>
            <a:pPr lvl="5"/>
            <a:r>
              <a:rPr lang="en-US" dirty="0"/>
              <a:t>06 </a:t>
            </a:r>
          </a:p>
          <a:p>
            <a:pPr lvl="6"/>
            <a:r>
              <a:rPr lang="en-US" dirty="0"/>
              <a:t>07</a:t>
            </a:r>
          </a:p>
          <a:p>
            <a:pPr lvl="7"/>
            <a:r>
              <a:rPr lang="en-US" dirty="0"/>
              <a:t>08</a:t>
            </a:r>
          </a:p>
          <a:p>
            <a:pPr lvl="8"/>
            <a:r>
              <a:rPr lang="en-US" dirty="0"/>
              <a:t>09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ACCD1B53-BD14-4225-9B40-2897BB8EE19E}"/>
              </a:ext>
            </a:extLst>
          </p:cNvPr>
          <p:cNvSpPr>
            <a:spLocks noGrp="1"/>
          </p:cNvSpPr>
          <p:nvPr>
            <p:ph type="dt" sz="half" idx="4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AE9DAC-1D43-4A8C-8389-577912294A04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0FBEAB4-D117-4EDF-9380-DD231BA23581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C8C8186-69E7-4F7A-9AD5-D6B61B93FC84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05548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to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pour une image  8">
            <a:extLst>
              <a:ext uri="{FF2B5EF4-FFF2-40B4-BE49-F238E27FC236}">
                <a16:creationId xmlns:a16="http://schemas.microsoft.com/office/drawing/2014/main" id="{18818745-B376-4E79-B145-460BE1ACD90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080000" y="0"/>
            <a:ext cx="5112000" cy="6858000"/>
          </a:xfrm>
          <a:prstGeom prst="rect">
            <a:avLst/>
          </a:prstGeom>
          <a:solidFill>
            <a:schemeClr val="tx2"/>
          </a:solidFill>
          <a:effectLst>
            <a:outerShdw blurRad="254000" algn="ctr" rotWithShape="0">
              <a:schemeClr val="accent4">
                <a:alpha val="20000"/>
              </a:schemeClr>
            </a:outerShdw>
          </a:effectLst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200">
                <a:solidFill>
                  <a:schemeClr val="bg1"/>
                </a:solidFill>
              </a:defRPr>
            </a:lvl1pPr>
          </a:lstStyle>
          <a:p>
            <a:pPr marL="146300" lvl="0" indent="-146300" algn="ctr"/>
            <a:r>
              <a:rPr lang="en-US" dirty="0"/>
              <a:t>Image</a:t>
            </a: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18F1FE93-E7D3-4ED9-97B9-B1FD569B5F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64" y="293065"/>
            <a:ext cx="5651536" cy="961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9FA0099B-9F48-4AD3-BF82-C2ECA534EC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1317600"/>
            <a:ext cx="5651536" cy="295465"/>
          </a:xfrm>
          <a:noFill/>
          <a:effectLst/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31CED103-AA1E-4DEE-8C3E-89D5DBBC6967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fld id="{AF024CF4-516D-4C07-9ABA-8B08BC19EA60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83DA1E73-C312-4FA0-9892-4CBF5C5239C8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C30E42E-6859-455E-81EE-20DEAD0C8D15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6" name="Group 6">
            <a:extLst>
              <a:ext uri="{FF2B5EF4-FFF2-40B4-BE49-F238E27FC236}">
                <a16:creationId xmlns:a16="http://schemas.microsoft.com/office/drawing/2014/main" id="{CD207DC0-E3EC-4CA5-AB4E-37BD34924A0C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C43859FA-3201-41F9-B9A2-0F2ED9DEB023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55BB82CD-E7D5-477E-BC49-7AB338BF42CB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34F12E5F-526B-4D5E-80A1-3A0F32BAFEF1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8D14689A-1BD0-465D-9502-8B73F7D0893B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B00BBE1E-8D8A-43AF-AB56-41D22876959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26789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Background with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9AE3442-BFE6-4646-8780-4DEDEE6028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430099">
                  <a:alpha val="90000"/>
                </a:srgbClr>
              </a:gs>
              <a:gs pos="100000">
                <a:schemeClr val="tx2">
                  <a:lumMod val="60000"/>
                  <a:lumOff val="40000"/>
                  <a:alpha val="0"/>
                </a:schemeClr>
              </a:gs>
              <a:gs pos="36000">
                <a:schemeClr val="tx2">
                  <a:lumMod val="60000"/>
                  <a:lumOff val="40000"/>
                  <a:alpha val="60000"/>
                </a:schemeClr>
              </a:gs>
            </a:gsLst>
            <a:lin ang="189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18F1FE93-E7D3-4ED9-97B9-B1FD569B5F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64" y="293065"/>
            <a:ext cx="5651536" cy="4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9FA0099B-9F48-4AD3-BF82-C2ECA534EC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5651536" cy="295465"/>
          </a:xfrm>
          <a:noFill/>
          <a:effectLst/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chemeClr val="bg1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D22F546-80E3-4E9C-BD7E-3846DBBDD8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400" y="1558800"/>
            <a:ext cx="5630400" cy="4730400"/>
          </a:xfrm>
        </p:spPr>
        <p:txBody>
          <a:bodyPr/>
          <a:lstStyle>
            <a:lvl1pPr marL="146300" indent="-1463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 marL="768077" indent="-1463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grpSp>
        <p:nvGrpSpPr>
          <p:cNvPr id="18" name="Group 6">
            <a:extLst>
              <a:ext uri="{FF2B5EF4-FFF2-40B4-BE49-F238E27FC236}">
                <a16:creationId xmlns:a16="http://schemas.microsoft.com/office/drawing/2014/main" id="{D643B8A4-A269-48EB-99D1-0EA5BEB31CA8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bg1"/>
          </a:soli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D5683363-FEFF-4E55-92E2-A66451135E68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A7BA0F2F-87D4-40D5-8BDA-9F56C60AF5A7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C876B6F7-3FFB-4813-BCF9-A2BFDC5A2D24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CE18245A-8AFF-4399-90EB-9D53172F92CE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E72C2B43-180A-46D3-B427-F077B90AB2B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0F6E1DD-FB1F-4326-9818-E98B403C5F7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1474F1-ACF2-41B1-AC50-B2655BB58B4D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BB09EFC-9BF7-453E-BA65-D041FD039D2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| Title of document 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0D7B6F9-2456-4031-872B-B20F3E301D2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086128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10">
            <a:extLst>
              <a:ext uri="{FF2B5EF4-FFF2-40B4-BE49-F238E27FC236}">
                <a16:creationId xmlns:a16="http://schemas.microsoft.com/office/drawing/2014/main" id="{7F994166-2371-42CB-ACCC-B0F05A6D4B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15344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854A2ED3-64C3-4245-B297-3BE13D3DE0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667" y="4037417"/>
            <a:ext cx="11515200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1BB97183-7A21-4FB4-BD44-35034B1238E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8667" y="1559985"/>
            <a:ext cx="11515200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89BF555F-1EF6-41A0-8C06-22D022CCD7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7016BE4-467E-4E80-BF5A-D6B9D0D6DEB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20DF5DF-19E9-4DCD-BD48-1159DCF9427E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355ADFF-140E-4ABC-BDB5-F0E89A05E03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4E4521B-4555-45FA-ABAB-7DA1321309C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oup 6">
            <a:extLst>
              <a:ext uri="{FF2B5EF4-FFF2-40B4-BE49-F238E27FC236}">
                <a16:creationId xmlns:a16="http://schemas.microsoft.com/office/drawing/2014/main" id="{BB70C8C0-176A-423B-A86F-781771BB7933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F42F148-046E-4886-A9F6-5A9F1C89E292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941CFE4-97F1-4761-8F41-34ACEB92DBF3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C1D0E733-4382-4158-8661-8F092D590528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85AEE874-DBED-4493-8283-93C23F513DA5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6F07A0F8-95C9-41D5-B871-601A2867D5BC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24948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BA6CB9-E722-4F5E-99B8-9AC70DC671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667" y="1559985"/>
            <a:ext cx="11515200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8" name="Espace réservé du texte 10">
            <a:extLst>
              <a:ext uri="{FF2B5EF4-FFF2-40B4-BE49-F238E27FC236}">
                <a16:creationId xmlns:a16="http://schemas.microsoft.com/office/drawing/2014/main" id="{53AE3FDD-D0B4-4344-AF4E-133DD63C98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15344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BDE5D317-3F5B-4F93-AF96-CED099985E66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338667" y="4039660"/>
            <a:ext cx="11513197" cy="2248957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91BEEBEA-AC38-4AD3-9D19-517C8674CB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E810BA0-B729-4389-8A74-5D801758E8FD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2DD0CE8-B6B1-4F9C-8AE8-7B4FE16C292B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8ED7703B-DEF2-43EE-84C3-17B45E9141A1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D56DAF81-43C9-4A9D-9500-AC4D2F702C29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oup 6">
            <a:extLst>
              <a:ext uri="{FF2B5EF4-FFF2-40B4-BE49-F238E27FC236}">
                <a16:creationId xmlns:a16="http://schemas.microsoft.com/office/drawing/2014/main" id="{7A50F6A8-0665-46B8-B423-4E381816DAB7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BC3F983F-CD20-416E-95F4-ECCE80E24C6B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0E25C21-6EB9-4069-B099-1355B5D8655C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2D2CB4BA-9DDF-40D2-BBA0-6C0542291718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B913FA1E-C2E4-4C80-BAD9-7096A4689316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FA4E2F80-CAF4-4B23-89E9-5CDE6AE896C6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95157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 - Inse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35708" y="6375123"/>
            <a:ext cx="2328672" cy="20512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l">
              <a:defRPr lang="en-US" sz="1333" b="0" smtClean="0">
                <a:solidFill>
                  <a:srgbClr val="768A9A"/>
                </a:solidFill>
                <a:latin typeface="Arial"/>
              </a:defRPr>
            </a:lvl1pPr>
          </a:lstStyle>
          <a:p>
            <a:pPr defTabSz="914377"/>
            <a:fld id="{C9312AAF-0F0C-4439-9C74-2D95E3653639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49" name="ZoneTexte 48">
            <a:extLst>
              <a:ext uri="{FF2B5EF4-FFF2-40B4-BE49-F238E27FC236}">
                <a16:creationId xmlns:a16="http://schemas.microsoft.com/office/drawing/2014/main" id="{5C094009-EA2B-434F-BB31-393F626C39C2}"/>
              </a:ext>
            </a:extLst>
          </p:cNvPr>
          <p:cNvSpPr txBox="1"/>
          <p:nvPr userDrawn="1"/>
        </p:nvSpPr>
        <p:spPr>
          <a:xfrm>
            <a:off x="1293438" y="4491552"/>
            <a:ext cx="243528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chemeClr val="tx2"/>
                </a:solidFill>
                <a:latin typeface="+mj-lt"/>
              </a:rPr>
              <a:t>Financial </a:t>
            </a:r>
            <a:br>
              <a:rPr lang="en-US" sz="2800" dirty="0">
                <a:solidFill>
                  <a:schemeClr val="tx2"/>
                </a:solidFill>
                <a:latin typeface="+mj-lt"/>
              </a:rPr>
            </a:br>
            <a:r>
              <a:rPr lang="en-US" sz="2800" dirty="0">
                <a:solidFill>
                  <a:schemeClr val="tx2"/>
                </a:solidFill>
                <a:latin typeface="+mj-lt"/>
              </a:rPr>
              <a:t>Institutions</a:t>
            </a:r>
          </a:p>
        </p:txBody>
      </p:sp>
      <p:grpSp>
        <p:nvGrpSpPr>
          <p:cNvPr id="77" name="Group 6">
            <a:extLst>
              <a:ext uri="{FF2B5EF4-FFF2-40B4-BE49-F238E27FC236}">
                <a16:creationId xmlns:a16="http://schemas.microsoft.com/office/drawing/2014/main" id="{22BA7D1F-7438-4BB2-9798-3C506AE156DD}"/>
              </a:ext>
            </a:extLst>
          </p:cNvPr>
          <p:cNvGrpSpPr/>
          <p:nvPr userDrawn="1"/>
        </p:nvGrpSpPr>
        <p:grpSpPr bwMode="black">
          <a:xfrm>
            <a:off x="635708" y="622301"/>
            <a:ext cx="911669" cy="230212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78" name="Freeform 5">
              <a:extLst>
                <a:ext uri="{FF2B5EF4-FFF2-40B4-BE49-F238E27FC236}">
                  <a16:creationId xmlns:a16="http://schemas.microsoft.com/office/drawing/2014/main" id="{A5C714A7-81AE-400A-AA20-E9649E23B62B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 6">
              <a:extLst>
                <a:ext uri="{FF2B5EF4-FFF2-40B4-BE49-F238E27FC236}">
                  <a16:creationId xmlns:a16="http://schemas.microsoft.com/office/drawing/2014/main" id="{4F186631-A434-4640-AB13-FCE39487258C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 7">
              <a:extLst>
                <a:ext uri="{FF2B5EF4-FFF2-40B4-BE49-F238E27FC236}">
                  <a16:creationId xmlns:a16="http://schemas.microsoft.com/office/drawing/2014/main" id="{D124DAB2-A82B-4198-88C3-B80CB3DC612F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 8">
              <a:extLst>
                <a:ext uri="{FF2B5EF4-FFF2-40B4-BE49-F238E27FC236}">
                  <a16:creationId xmlns:a16="http://schemas.microsoft.com/office/drawing/2014/main" id="{0F4B588A-A7B4-4D62-AE91-97C5D9ED6D3E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 9">
              <a:extLst>
                <a:ext uri="{FF2B5EF4-FFF2-40B4-BE49-F238E27FC236}">
                  <a16:creationId xmlns:a16="http://schemas.microsoft.com/office/drawing/2014/main" id="{A76168E3-4389-47B7-9DD4-F08C9DC9E636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3" name="Graphique 81">
            <a:extLst>
              <a:ext uri="{FF2B5EF4-FFF2-40B4-BE49-F238E27FC236}">
                <a16:creationId xmlns:a16="http://schemas.microsoft.com/office/drawing/2014/main" id="{E36DC875-1973-45CF-8C7E-DDAC605B98D2}"/>
              </a:ext>
            </a:extLst>
          </p:cNvPr>
          <p:cNvGrpSpPr>
            <a:grpSpLocks noChangeAspect="1"/>
          </p:cNvGrpSpPr>
          <p:nvPr/>
        </p:nvGrpSpPr>
        <p:grpSpPr>
          <a:xfrm>
            <a:off x="2006392" y="1963457"/>
            <a:ext cx="1009374" cy="1967636"/>
            <a:chOff x="2389465" y="1817499"/>
            <a:chExt cx="321335" cy="626400"/>
          </a:xfrm>
        </p:grpSpPr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785E86F4-8D4C-4233-8790-E8D93C2B9BC9}"/>
                </a:ext>
              </a:extLst>
            </p:cNvPr>
            <p:cNvSpPr/>
            <p:nvPr/>
          </p:nvSpPr>
          <p:spPr>
            <a:xfrm>
              <a:off x="2563032" y="1817499"/>
              <a:ext cx="142945" cy="208025"/>
            </a:xfrm>
            <a:custGeom>
              <a:avLst/>
              <a:gdLst>
                <a:gd name="connsiteX0" fmla="*/ 143119 w 142944"/>
                <a:gd name="connsiteY0" fmla="*/ 208548 h 208025"/>
                <a:gd name="connsiteX1" fmla="*/ 0 w 142944"/>
                <a:gd name="connsiteY1" fmla="*/ 52820 h 208025"/>
                <a:gd name="connsiteX2" fmla="*/ 0 w 142944"/>
                <a:gd name="connsiteY2" fmla="*/ 0 h 2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944" h="208025">
                  <a:moveTo>
                    <a:pt x="143119" y="208548"/>
                  </a:moveTo>
                  <a:cubicBezTo>
                    <a:pt x="143119" y="126558"/>
                    <a:pt x="80130" y="59444"/>
                    <a:pt x="0" y="52820"/>
                  </a:cubicBezTo>
                  <a:lnTo>
                    <a:pt x="0" y="0"/>
                  </a:lnTo>
                </a:path>
              </a:pathLst>
            </a:custGeom>
            <a:noFill/>
            <a:ln w="25400" cap="flat">
              <a:solidFill>
                <a:srgbClr val="32B4B4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9C58A246-8DD1-400A-ACEB-379A4535A693}"/>
                </a:ext>
              </a:extLst>
            </p:cNvPr>
            <p:cNvSpPr/>
            <p:nvPr/>
          </p:nvSpPr>
          <p:spPr>
            <a:xfrm>
              <a:off x="2393823" y="1817499"/>
              <a:ext cx="259741" cy="521225"/>
            </a:xfrm>
            <a:custGeom>
              <a:avLst/>
              <a:gdLst>
                <a:gd name="connsiteX0" fmla="*/ 143119 w 259740"/>
                <a:gd name="connsiteY0" fmla="*/ 0 h 521225"/>
                <a:gd name="connsiteX1" fmla="*/ 143119 w 259740"/>
                <a:gd name="connsiteY1" fmla="*/ 52820 h 521225"/>
                <a:gd name="connsiteX2" fmla="*/ 0 w 259740"/>
                <a:gd name="connsiteY2" fmla="*/ 208548 h 521225"/>
                <a:gd name="connsiteX3" fmla="*/ 156135 w 259740"/>
                <a:gd name="connsiteY3" fmla="*/ 365264 h 521225"/>
                <a:gd name="connsiteX4" fmla="*/ 208141 w 259740"/>
                <a:gd name="connsiteY4" fmla="*/ 417561 h 521225"/>
                <a:gd name="connsiteX5" fmla="*/ 156135 w 259740"/>
                <a:gd name="connsiteY5" fmla="*/ 469568 h 521225"/>
                <a:gd name="connsiteX6" fmla="*/ 104129 w 259740"/>
                <a:gd name="connsiteY6" fmla="*/ 417561 h 521225"/>
                <a:gd name="connsiteX7" fmla="*/ 52181 w 259740"/>
                <a:gd name="connsiteY7" fmla="*/ 417503 h 521225"/>
                <a:gd name="connsiteX8" fmla="*/ 156135 w 259740"/>
                <a:gd name="connsiteY8" fmla="*/ 521458 h 521225"/>
                <a:gd name="connsiteX9" fmla="*/ 260090 w 259740"/>
                <a:gd name="connsiteY9" fmla="*/ 417503 h 521225"/>
                <a:gd name="connsiteX10" fmla="*/ 156135 w 259740"/>
                <a:gd name="connsiteY10" fmla="*/ 313142 h 521225"/>
                <a:gd name="connsiteX11" fmla="*/ 52181 w 259740"/>
                <a:gd name="connsiteY11" fmla="*/ 208781 h 521225"/>
                <a:gd name="connsiteX12" fmla="*/ 156135 w 259740"/>
                <a:gd name="connsiteY12" fmla="*/ 104826 h 521225"/>
                <a:gd name="connsiteX13" fmla="*/ 260090 w 259740"/>
                <a:gd name="connsiteY13" fmla="*/ 208781 h 52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9740" h="521225">
                  <a:moveTo>
                    <a:pt x="143119" y="0"/>
                  </a:moveTo>
                  <a:lnTo>
                    <a:pt x="143119" y="52820"/>
                  </a:lnTo>
                  <a:cubicBezTo>
                    <a:pt x="62989" y="59444"/>
                    <a:pt x="0" y="126558"/>
                    <a:pt x="0" y="208548"/>
                  </a:cubicBezTo>
                  <a:cubicBezTo>
                    <a:pt x="0" y="294896"/>
                    <a:pt x="69903" y="365264"/>
                    <a:pt x="156135" y="365264"/>
                  </a:cubicBezTo>
                  <a:cubicBezTo>
                    <a:pt x="184840" y="365264"/>
                    <a:pt x="208141" y="388856"/>
                    <a:pt x="208141" y="417561"/>
                  </a:cubicBezTo>
                  <a:cubicBezTo>
                    <a:pt x="208141" y="446266"/>
                    <a:pt x="184840" y="469568"/>
                    <a:pt x="156135" y="469568"/>
                  </a:cubicBezTo>
                  <a:cubicBezTo>
                    <a:pt x="127430" y="469568"/>
                    <a:pt x="104129" y="446325"/>
                    <a:pt x="104129" y="417561"/>
                  </a:cubicBezTo>
                  <a:moveTo>
                    <a:pt x="52181" y="417503"/>
                  </a:moveTo>
                  <a:cubicBezTo>
                    <a:pt x="52181" y="474913"/>
                    <a:pt x="98725" y="521458"/>
                    <a:pt x="156135" y="521458"/>
                  </a:cubicBezTo>
                  <a:cubicBezTo>
                    <a:pt x="213545" y="521458"/>
                    <a:pt x="260090" y="474913"/>
                    <a:pt x="260090" y="417503"/>
                  </a:cubicBezTo>
                  <a:cubicBezTo>
                    <a:pt x="260090" y="360093"/>
                    <a:pt x="213545" y="313142"/>
                    <a:pt x="156135" y="313142"/>
                  </a:cubicBezTo>
                  <a:cubicBezTo>
                    <a:pt x="98725" y="313142"/>
                    <a:pt x="52181" y="266191"/>
                    <a:pt x="52181" y="208781"/>
                  </a:cubicBezTo>
                  <a:cubicBezTo>
                    <a:pt x="52181" y="151370"/>
                    <a:pt x="98725" y="104826"/>
                    <a:pt x="156135" y="104826"/>
                  </a:cubicBezTo>
                  <a:cubicBezTo>
                    <a:pt x="213545" y="104826"/>
                    <a:pt x="260090" y="151370"/>
                    <a:pt x="260090" y="208781"/>
                  </a:cubicBezTo>
                </a:path>
              </a:pathLst>
            </a:custGeom>
            <a:noFill/>
            <a:ln w="25400" cap="flat">
              <a:solidFill>
                <a:srgbClr val="32B4B4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3AC1D7F4-40F4-4BE0-A36D-D274F5DAF7FC}"/>
                </a:ext>
              </a:extLst>
            </p:cNvPr>
            <p:cNvSpPr/>
            <p:nvPr/>
          </p:nvSpPr>
          <p:spPr>
            <a:xfrm>
              <a:off x="2393823" y="1974273"/>
              <a:ext cx="312038" cy="469509"/>
            </a:xfrm>
            <a:custGeom>
              <a:avLst/>
              <a:gdLst>
                <a:gd name="connsiteX0" fmla="*/ 0 w 312037"/>
                <a:gd name="connsiteY0" fmla="*/ 261019 h 469509"/>
                <a:gd name="connsiteX1" fmla="*/ 143119 w 312037"/>
                <a:gd name="connsiteY1" fmla="*/ 416748 h 469509"/>
                <a:gd name="connsiteX2" fmla="*/ 143119 w 312037"/>
                <a:gd name="connsiteY2" fmla="*/ 469568 h 469509"/>
                <a:gd name="connsiteX3" fmla="*/ 169151 w 312037"/>
                <a:gd name="connsiteY3" fmla="*/ 469510 h 469509"/>
                <a:gd name="connsiteX4" fmla="*/ 169151 w 312037"/>
                <a:gd name="connsiteY4" fmla="*/ 416748 h 469509"/>
                <a:gd name="connsiteX5" fmla="*/ 312328 w 312037"/>
                <a:gd name="connsiteY5" fmla="*/ 261019 h 469509"/>
                <a:gd name="connsiteX6" fmla="*/ 156193 w 312037"/>
                <a:gd name="connsiteY6" fmla="*/ 104303 h 469509"/>
                <a:gd name="connsiteX7" fmla="*/ 104187 w 312037"/>
                <a:gd name="connsiteY7" fmla="*/ 52006 h 469509"/>
                <a:gd name="connsiteX8" fmla="*/ 156193 w 312037"/>
                <a:gd name="connsiteY8" fmla="*/ 0 h 469509"/>
                <a:gd name="connsiteX9" fmla="*/ 208200 w 312037"/>
                <a:gd name="connsiteY9" fmla="*/ 52006 h 469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2037" h="469509">
                  <a:moveTo>
                    <a:pt x="0" y="261019"/>
                  </a:moveTo>
                  <a:cubicBezTo>
                    <a:pt x="0" y="343009"/>
                    <a:pt x="62989" y="410123"/>
                    <a:pt x="143119" y="416748"/>
                  </a:cubicBezTo>
                  <a:lnTo>
                    <a:pt x="143119" y="469568"/>
                  </a:lnTo>
                  <a:moveTo>
                    <a:pt x="169151" y="469510"/>
                  </a:moveTo>
                  <a:lnTo>
                    <a:pt x="169151" y="416748"/>
                  </a:lnTo>
                  <a:cubicBezTo>
                    <a:pt x="249282" y="410065"/>
                    <a:pt x="312328" y="342951"/>
                    <a:pt x="312328" y="261019"/>
                  </a:cubicBezTo>
                  <a:cubicBezTo>
                    <a:pt x="312328" y="174613"/>
                    <a:pt x="242425" y="104303"/>
                    <a:pt x="156193" y="104303"/>
                  </a:cubicBezTo>
                  <a:cubicBezTo>
                    <a:pt x="127488" y="104303"/>
                    <a:pt x="104187" y="80711"/>
                    <a:pt x="104187" y="52006"/>
                  </a:cubicBezTo>
                  <a:cubicBezTo>
                    <a:pt x="104187" y="23301"/>
                    <a:pt x="127488" y="0"/>
                    <a:pt x="156193" y="0"/>
                  </a:cubicBezTo>
                  <a:cubicBezTo>
                    <a:pt x="184898" y="0"/>
                    <a:pt x="208200" y="23301"/>
                    <a:pt x="208200" y="52006"/>
                  </a:cubicBezTo>
                </a:path>
              </a:pathLst>
            </a:custGeom>
            <a:noFill/>
            <a:ln w="25400" cap="flat">
              <a:solidFill>
                <a:srgbClr val="32B4B4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9" name="Espace réservé pour une image  15">
            <a:extLst>
              <a:ext uri="{FF2B5EF4-FFF2-40B4-BE49-F238E27FC236}">
                <a16:creationId xmlns:a16="http://schemas.microsoft.com/office/drawing/2014/main" id="{37652E53-8118-4E3C-A52D-0E01ABD05D7E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103788" y="0"/>
            <a:ext cx="7088212" cy="6858000"/>
          </a:xfrm>
          <a:custGeom>
            <a:avLst/>
            <a:gdLst>
              <a:gd name="connsiteX0" fmla="*/ 7088212 w 7088212"/>
              <a:gd name="connsiteY0" fmla="*/ 2316551 h 6858000"/>
              <a:gd name="connsiteX1" fmla="*/ 7088212 w 7088212"/>
              <a:gd name="connsiteY1" fmla="*/ 3270182 h 6858000"/>
              <a:gd name="connsiteX2" fmla="*/ 7088212 w 7088212"/>
              <a:gd name="connsiteY2" fmla="*/ 3597980 h 6858000"/>
              <a:gd name="connsiteX3" fmla="*/ 7088212 w 7088212"/>
              <a:gd name="connsiteY3" fmla="*/ 4546633 h 6858000"/>
              <a:gd name="connsiteX4" fmla="*/ 6546184 w 7088212"/>
              <a:gd name="connsiteY4" fmla="*/ 3434544 h 6858000"/>
              <a:gd name="connsiteX5" fmla="*/ 7088212 w 7088212"/>
              <a:gd name="connsiteY5" fmla="*/ 1297052 h 6858000"/>
              <a:gd name="connsiteX6" fmla="*/ 7088212 w 7088212"/>
              <a:gd name="connsiteY6" fmla="*/ 2251081 h 6858000"/>
              <a:gd name="connsiteX7" fmla="*/ 6514644 w 7088212"/>
              <a:gd name="connsiteY7" fmla="*/ 3434545 h 6858000"/>
              <a:gd name="connsiteX8" fmla="*/ 7088212 w 7088212"/>
              <a:gd name="connsiteY8" fmla="*/ 4611344 h 6858000"/>
              <a:gd name="connsiteX9" fmla="*/ 7088212 w 7088212"/>
              <a:gd name="connsiteY9" fmla="*/ 5559997 h 6858000"/>
              <a:gd name="connsiteX10" fmla="*/ 6052274 w 7088212"/>
              <a:gd name="connsiteY10" fmla="*/ 3434545 h 6858000"/>
              <a:gd name="connsiteX11" fmla="*/ 7088212 w 7088212"/>
              <a:gd name="connsiteY11" fmla="*/ 286451 h 6858000"/>
              <a:gd name="connsiteX12" fmla="*/ 7088212 w 7088212"/>
              <a:gd name="connsiteY12" fmla="*/ 1223092 h 6858000"/>
              <a:gd name="connsiteX13" fmla="*/ 6016431 w 7088212"/>
              <a:gd name="connsiteY13" fmla="*/ 3434543 h 6858000"/>
              <a:gd name="connsiteX14" fmla="*/ 7088212 w 7088212"/>
              <a:gd name="connsiteY14" fmla="*/ 5633535 h 6858000"/>
              <a:gd name="connsiteX15" fmla="*/ 7088212 w 7088212"/>
              <a:gd name="connsiteY15" fmla="*/ 6566009 h 6858000"/>
              <a:gd name="connsiteX16" fmla="*/ 5561946 w 7088212"/>
              <a:gd name="connsiteY16" fmla="*/ 3434543 h 6858000"/>
              <a:gd name="connsiteX17" fmla="*/ 6736761 w 7088212"/>
              <a:gd name="connsiteY17" fmla="*/ 1 h 6858000"/>
              <a:gd name="connsiteX18" fmla="*/ 7088212 w 7088212"/>
              <a:gd name="connsiteY18" fmla="*/ 1 h 6858000"/>
              <a:gd name="connsiteX19" fmla="*/ 7088212 w 7088212"/>
              <a:gd name="connsiteY19" fmla="*/ 195109 h 6858000"/>
              <a:gd name="connsiteX20" fmla="*/ 5518218 w 7088212"/>
              <a:gd name="connsiteY20" fmla="*/ 3434542 h 6858000"/>
              <a:gd name="connsiteX21" fmla="*/ 7088212 w 7088212"/>
              <a:gd name="connsiteY21" fmla="*/ 6655729 h 6858000"/>
              <a:gd name="connsiteX22" fmla="*/ 7088212 w 7088212"/>
              <a:gd name="connsiteY22" fmla="*/ 6858000 h 6858000"/>
              <a:gd name="connsiteX23" fmla="*/ 6740201 w 7088212"/>
              <a:gd name="connsiteY23" fmla="*/ 6858000 h 6858000"/>
              <a:gd name="connsiteX24" fmla="*/ 5071618 w 7088212"/>
              <a:gd name="connsiteY24" fmla="*/ 3434542 h 6858000"/>
              <a:gd name="connsiteX25" fmla="*/ 6238549 w 7088212"/>
              <a:gd name="connsiteY25" fmla="*/ 1 h 6858000"/>
              <a:gd name="connsiteX26" fmla="*/ 6692444 w 7088212"/>
              <a:gd name="connsiteY26" fmla="*/ 1 h 6858000"/>
              <a:gd name="connsiteX27" fmla="*/ 5027891 w 7088212"/>
              <a:gd name="connsiteY27" fmla="*/ 3434542 h 6858000"/>
              <a:gd name="connsiteX28" fmla="*/ 6696474 w 7088212"/>
              <a:gd name="connsiteY28" fmla="*/ 6858000 h 6858000"/>
              <a:gd name="connsiteX29" fmla="*/ 6241989 w 7088212"/>
              <a:gd name="connsiteY29" fmla="*/ 6858000 h 6858000"/>
              <a:gd name="connsiteX30" fmla="*/ 4573406 w 7088212"/>
              <a:gd name="connsiteY30" fmla="*/ 3434542 h 6858000"/>
              <a:gd name="connsiteX31" fmla="*/ 5748221 w 7088212"/>
              <a:gd name="connsiteY31" fmla="*/ 1 h 6858000"/>
              <a:gd name="connsiteX32" fmla="*/ 6194231 w 7088212"/>
              <a:gd name="connsiteY32" fmla="*/ 1 h 6858000"/>
              <a:gd name="connsiteX33" fmla="*/ 4529678 w 7088212"/>
              <a:gd name="connsiteY33" fmla="*/ 3434542 h 6858000"/>
              <a:gd name="connsiteX34" fmla="*/ 6198261 w 7088212"/>
              <a:gd name="connsiteY34" fmla="*/ 6858000 h 6858000"/>
              <a:gd name="connsiteX35" fmla="*/ 5751661 w 7088212"/>
              <a:gd name="connsiteY35" fmla="*/ 6858000 h 6858000"/>
              <a:gd name="connsiteX36" fmla="*/ 4083078 w 7088212"/>
              <a:gd name="connsiteY36" fmla="*/ 3434542 h 6858000"/>
              <a:gd name="connsiteX37" fmla="*/ 5257893 w 7088212"/>
              <a:gd name="connsiteY37" fmla="*/ 1 h 6858000"/>
              <a:gd name="connsiteX38" fmla="*/ 5696019 w 7088212"/>
              <a:gd name="connsiteY38" fmla="*/ 1 h 6858000"/>
              <a:gd name="connsiteX39" fmla="*/ 4031465 w 7088212"/>
              <a:gd name="connsiteY39" fmla="*/ 3434542 h 6858000"/>
              <a:gd name="connsiteX40" fmla="*/ 5700048 w 7088212"/>
              <a:gd name="connsiteY40" fmla="*/ 6858000 h 6858000"/>
              <a:gd name="connsiteX41" fmla="*/ 5261334 w 7088212"/>
              <a:gd name="connsiteY41" fmla="*/ 6858000 h 6858000"/>
              <a:gd name="connsiteX42" fmla="*/ 3592751 w 7088212"/>
              <a:gd name="connsiteY42" fmla="*/ 3434542 h 6858000"/>
              <a:gd name="connsiteX43" fmla="*/ 4787634 w 7088212"/>
              <a:gd name="connsiteY43" fmla="*/ 1 h 6858000"/>
              <a:gd name="connsiteX44" fmla="*/ 5178319 w 7088212"/>
              <a:gd name="connsiteY44" fmla="*/ 1 h 6858000"/>
              <a:gd name="connsiteX45" fmla="*/ 3513176 w 7088212"/>
              <a:gd name="connsiteY45" fmla="*/ 3434542 h 6858000"/>
              <a:gd name="connsiteX46" fmla="*/ 5182449 w 7088212"/>
              <a:gd name="connsiteY46" fmla="*/ 6858000 h 6858000"/>
              <a:gd name="connsiteX47" fmla="*/ 4791074 w 7088212"/>
              <a:gd name="connsiteY47" fmla="*/ 6858000 h 6858000"/>
              <a:gd name="connsiteX48" fmla="*/ 3122491 w 7088212"/>
              <a:gd name="connsiteY48" fmla="*/ 3434542 h 6858000"/>
              <a:gd name="connsiteX49" fmla="*/ 4309493 w 7088212"/>
              <a:gd name="connsiteY49" fmla="*/ 1 h 6858000"/>
              <a:gd name="connsiteX50" fmla="*/ 4668049 w 7088212"/>
              <a:gd name="connsiteY50" fmla="*/ 1 h 6858000"/>
              <a:gd name="connsiteX51" fmla="*/ 3003495 w 7088212"/>
              <a:gd name="connsiteY51" fmla="*/ 3434542 h 6858000"/>
              <a:gd name="connsiteX52" fmla="*/ 4672078 w 7088212"/>
              <a:gd name="connsiteY52" fmla="*/ 6858000 h 6858000"/>
              <a:gd name="connsiteX53" fmla="*/ 4312934 w 7088212"/>
              <a:gd name="connsiteY53" fmla="*/ 6858000 h 6858000"/>
              <a:gd name="connsiteX54" fmla="*/ 2644351 w 7088212"/>
              <a:gd name="connsiteY54" fmla="*/ 3434542 h 6858000"/>
              <a:gd name="connsiteX55" fmla="*/ 3827179 w 7088212"/>
              <a:gd name="connsiteY55" fmla="*/ 1 h 6858000"/>
              <a:gd name="connsiteX56" fmla="*/ 4161821 w 7088212"/>
              <a:gd name="connsiteY56" fmla="*/ 1 h 6858000"/>
              <a:gd name="connsiteX57" fmla="*/ 2496679 w 7088212"/>
              <a:gd name="connsiteY57" fmla="*/ 3434542 h 6858000"/>
              <a:gd name="connsiteX58" fmla="*/ 4165951 w 7088212"/>
              <a:gd name="connsiteY58" fmla="*/ 6858000 h 6858000"/>
              <a:gd name="connsiteX59" fmla="*/ 3831208 w 7088212"/>
              <a:gd name="connsiteY59" fmla="*/ 6858000 h 6858000"/>
              <a:gd name="connsiteX60" fmla="*/ 2162625 w 7088212"/>
              <a:gd name="connsiteY60" fmla="*/ 3434542 h 6858000"/>
              <a:gd name="connsiteX61" fmla="*/ 3396278 w 7088212"/>
              <a:gd name="connsiteY61" fmla="*/ 1 h 6858000"/>
              <a:gd name="connsiteX62" fmla="*/ 3658775 w 7088212"/>
              <a:gd name="connsiteY62" fmla="*/ 1 h 6858000"/>
              <a:gd name="connsiteX63" fmla="*/ 1994222 w 7088212"/>
              <a:gd name="connsiteY63" fmla="*/ 3434542 h 6858000"/>
              <a:gd name="connsiteX64" fmla="*/ 3662804 w 7088212"/>
              <a:gd name="connsiteY64" fmla="*/ 6858000 h 6858000"/>
              <a:gd name="connsiteX65" fmla="*/ 3399719 w 7088212"/>
              <a:gd name="connsiteY65" fmla="*/ 6858000 h 6858000"/>
              <a:gd name="connsiteX66" fmla="*/ 1731136 w 7088212"/>
              <a:gd name="connsiteY66" fmla="*/ 3434542 h 6858000"/>
              <a:gd name="connsiteX67" fmla="*/ 2965904 w 7088212"/>
              <a:gd name="connsiteY67" fmla="*/ 0 h 6858000"/>
              <a:gd name="connsiteX68" fmla="*/ 3196732 w 7088212"/>
              <a:gd name="connsiteY68" fmla="*/ 0 h 6858000"/>
              <a:gd name="connsiteX69" fmla="*/ 1531590 w 7088212"/>
              <a:gd name="connsiteY69" fmla="*/ 3434542 h 6858000"/>
              <a:gd name="connsiteX70" fmla="*/ 3200863 w 7088212"/>
              <a:gd name="connsiteY70" fmla="*/ 6858000 h 6858000"/>
              <a:gd name="connsiteX71" fmla="*/ 2969345 w 7088212"/>
              <a:gd name="connsiteY71" fmla="*/ 6858000 h 6858000"/>
              <a:gd name="connsiteX72" fmla="*/ 1300762 w 7088212"/>
              <a:gd name="connsiteY72" fmla="*/ 3434542 h 6858000"/>
              <a:gd name="connsiteX73" fmla="*/ 2506592 w 7088212"/>
              <a:gd name="connsiteY73" fmla="*/ 0 h 6858000"/>
              <a:gd name="connsiteX74" fmla="*/ 2690136 w 7088212"/>
              <a:gd name="connsiteY74" fmla="*/ 0 h 6858000"/>
              <a:gd name="connsiteX75" fmla="*/ 1025582 w 7088212"/>
              <a:gd name="connsiteY75" fmla="*/ 3434542 h 6858000"/>
              <a:gd name="connsiteX76" fmla="*/ 2694165 w 7088212"/>
              <a:gd name="connsiteY76" fmla="*/ 6858000 h 6858000"/>
              <a:gd name="connsiteX77" fmla="*/ 2510651 w 7088212"/>
              <a:gd name="connsiteY77" fmla="*/ 6858000 h 6858000"/>
              <a:gd name="connsiteX78" fmla="*/ 842068 w 7088212"/>
              <a:gd name="connsiteY78" fmla="*/ 3434542 h 6858000"/>
              <a:gd name="connsiteX79" fmla="*/ 859272 w 7088212"/>
              <a:gd name="connsiteY79" fmla="*/ 3398698 h 6858000"/>
              <a:gd name="connsiteX80" fmla="*/ 2066862 w 7088212"/>
              <a:gd name="connsiteY80" fmla="*/ 0 h 6858000"/>
              <a:gd name="connsiteX81" fmla="*/ 2178634 w 7088212"/>
              <a:gd name="connsiteY81" fmla="*/ 0 h 6858000"/>
              <a:gd name="connsiteX82" fmla="*/ 513490 w 7088212"/>
              <a:gd name="connsiteY82" fmla="*/ 3434542 h 6858000"/>
              <a:gd name="connsiteX83" fmla="*/ 2182763 w 7088212"/>
              <a:gd name="connsiteY83" fmla="*/ 6858000 h 6858000"/>
              <a:gd name="connsiteX84" fmla="*/ 2070961 w 7088212"/>
              <a:gd name="connsiteY84" fmla="*/ 6858000 h 6858000"/>
              <a:gd name="connsiteX85" fmla="*/ 402378 w 7088212"/>
              <a:gd name="connsiteY85" fmla="*/ 3434542 h 6858000"/>
              <a:gd name="connsiteX86" fmla="*/ 412414 w 7088212"/>
              <a:gd name="connsiteY86" fmla="*/ 3413036 h 6858000"/>
              <a:gd name="connsiteX87" fmla="*/ 1664655 w 7088212"/>
              <a:gd name="connsiteY87" fmla="*/ 0 h 6858000"/>
              <a:gd name="connsiteX88" fmla="*/ 1736238 w 7088212"/>
              <a:gd name="connsiteY88" fmla="*/ 0 h 6858000"/>
              <a:gd name="connsiteX89" fmla="*/ 71684 w 7088212"/>
              <a:gd name="connsiteY89" fmla="*/ 3434542 h 6858000"/>
              <a:gd name="connsiteX90" fmla="*/ 1740267 w 7088212"/>
              <a:gd name="connsiteY90" fmla="*/ 6858000 h 6858000"/>
              <a:gd name="connsiteX91" fmla="*/ 1668582 w 7088212"/>
              <a:gd name="connsiteY91" fmla="*/ 6858000 h 6858000"/>
              <a:gd name="connsiteX92" fmla="*/ 0 w 7088212"/>
              <a:gd name="connsiteY92" fmla="*/ 3434545 h 6858000"/>
              <a:gd name="connsiteX93" fmla="*/ 0 w 7088212"/>
              <a:gd name="connsiteY93" fmla="*/ 3434539 h 6858000"/>
              <a:gd name="connsiteX94" fmla="*/ 7167 w 7088212"/>
              <a:gd name="connsiteY94" fmla="*/ 34209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7088212" h="6858000">
                <a:moveTo>
                  <a:pt x="7088212" y="2316551"/>
                </a:moveTo>
                <a:lnTo>
                  <a:pt x="7088212" y="3270182"/>
                </a:lnTo>
                <a:lnTo>
                  <a:pt x="7088212" y="3597980"/>
                </a:lnTo>
                <a:lnTo>
                  <a:pt x="7088212" y="4546633"/>
                </a:lnTo>
                <a:lnTo>
                  <a:pt x="6546184" y="3434544"/>
                </a:lnTo>
                <a:close/>
                <a:moveTo>
                  <a:pt x="7088212" y="1297052"/>
                </a:moveTo>
                <a:lnTo>
                  <a:pt x="7088212" y="2251081"/>
                </a:lnTo>
                <a:lnTo>
                  <a:pt x="6514644" y="3434545"/>
                </a:lnTo>
                <a:lnTo>
                  <a:pt x="7088212" y="4611344"/>
                </a:lnTo>
                <a:lnTo>
                  <a:pt x="7088212" y="5559997"/>
                </a:lnTo>
                <a:lnTo>
                  <a:pt x="6052274" y="3434545"/>
                </a:lnTo>
                <a:close/>
                <a:moveTo>
                  <a:pt x="7088212" y="286451"/>
                </a:moveTo>
                <a:lnTo>
                  <a:pt x="7088212" y="1223092"/>
                </a:lnTo>
                <a:lnTo>
                  <a:pt x="6016431" y="3434543"/>
                </a:lnTo>
                <a:lnTo>
                  <a:pt x="7088212" y="5633535"/>
                </a:lnTo>
                <a:lnTo>
                  <a:pt x="7088212" y="6566009"/>
                </a:lnTo>
                <a:lnTo>
                  <a:pt x="5561946" y="3434543"/>
                </a:lnTo>
                <a:close/>
                <a:moveTo>
                  <a:pt x="6736761" y="1"/>
                </a:moveTo>
                <a:lnTo>
                  <a:pt x="7088212" y="1"/>
                </a:lnTo>
                <a:lnTo>
                  <a:pt x="7088212" y="195109"/>
                </a:lnTo>
                <a:lnTo>
                  <a:pt x="5518218" y="3434542"/>
                </a:lnTo>
                <a:lnTo>
                  <a:pt x="7088212" y="6655729"/>
                </a:lnTo>
                <a:lnTo>
                  <a:pt x="7088212" y="6858000"/>
                </a:lnTo>
                <a:lnTo>
                  <a:pt x="6740201" y="6858000"/>
                </a:lnTo>
                <a:lnTo>
                  <a:pt x="5071618" y="3434542"/>
                </a:lnTo>
                <a:close/>
                <a:moveTo>
                  <a:pt x="6238549" y="1"/>
                </a:moveTo>
                <a:lnTo>
                  <a:pt x="6692444" y="1"/>
                </a:lnTo>
                <a:lnTo>
                  <a:pt x="5027891" y="3434542"/>
                </a:lnTo>
                <a:lnTo>
                  <a:pt x="6696474" y="6858000"/>
                </a:lnTo>
                <a:lnTo>
                  <a:pt x="6241989" y="6858000"/>
                </a:lnTo>
                <a:lnTo>
                  <a:pt x="4573406" y="3434542"/>
                </a:lnTo>
                <a:close/>
                <a:moveTo>
                  <a:pt x="5748221" y="1"/>
                </a:moveTo>
                <a:lnTo>
                  <a:pt x="6194231" y="1"/>
                </a:lnTo>
                <a:lnTo>
                  <a:pt x="4529678" y="3434542"/>
                </a:lnTo>
                <a:lnTo>
                  <a:pt x="6198261" y="6858000"/>
                </a:lnTo>
                <a:lnTo>
                  <a:pt x="5751661" y="6858000"/>
                </a:lnTo>
                <a:lnTo>
                  <a:pt x="4083078" y="3434542"/>
                </a:lnTo>
                <a:close/>
                <a:moveTo>
                  <a:pt x="5257893" y="1"/>
                </a:moveTo>
                <a:lnTo>
                  <a:pt x="5696019" y="1"/>
                </a:lnTo>
                <a:lnTo>
                  <a:pt x="4031465" y="3434542"/>
                </a:lnTo>
                <a:lnTo>
                  <a:pt x="5700048" y="6858000"/>
                </a:lnTo>
                <a:lnTo>
                  <a:pt x="5261334" y="6858000"/>
                </a:lnTo>
                <a:lnTo>
                  <a:pt x="3592751" y="3434542"/>
                </a:lnTo>
                <a:close/>
                <a:moveTo>
                  <a:pt x="4787634" y="1"/>
                </a:moveTo>
                <a:lnTo>
                  <a:pt x="5178319" y="1"/>
                </a:lnTo>
                <a:lnTo>
                  <a:pt x="3513176" y="3434542"/>
                </a:lnTo>
                <a:lnTo>
                  <a:pt x="5182449" y="6858000"/>
                </a:lnTo>
                <a:lnTo>
                  <a:pt x="4791074" y="6858000"/>
                </a:lnTo>
                <a:lnTo>
                  <a:pt x="3122491" y="3434542"/>
                </a:lnTo>
                <a:close/>
                <a:moveTo>
                  <a:pt x="4309493" y="1"/>
                </a:moveTo>
                <a:lnTo>
                  <a:pt x="4668049" y="1"/>
                </a:lnTo>
                <a:lnTo>
                  <a:pt x="3003495" y="3434542"/>
                </a:lnTo>
                <a:lnTo>
                  <a:pt x="4672078" y="6858000"/>
                </a:lnTo>
                <a:lnTo>
                  <a:pt x="4312934" y="6858000"/>
                </a:lnTo>
                <a:lnTo>
                  <a:pt x="2644351" y="3434542"/>
                </a:lnTo>
                <a:close/>
                <a:moveTo>
                  <a:pt x="3827179" y="1"/>
                </a:moveTo>
                <a:lnTo>
                  <a:pt x="4161821" y="1"/>
                </a:lnTo>
                <a:lnTo>
                  <a:pt x="2496679" y="3434542"/>
                </a:lnTo>
                <a:lnTo>
                  <a:pt x="4165951" y="6858000"/>
                </a:lnTo>
                <a:lnTo>
                  <a:pt x="3831208" y="6858000"/>
                </a:lnTo>
                <a:lnTo>
                  <a:pt x="2162625" y="3434542"/>
                </a:lnTo>
                <a:close/>
                <a:moveTo>
                  <a:pt x="3396278" y="1"/>
                </a:moveTo>
                <a:lnTo>
                  <a:pt x="3658775" y="1"/>
                </a:lnTo>
                <a:lnTo>
                  <a:pt x="1994222" y="3434542"/>
                </a:lnTo>
                <a:lnTo>
                  <a:pt x="3662804" y="6858000"/>
                </a:lnTo>
                <a:lnTo>
                  <a:pt x="3399719" y="6858000"/>
                </a:lnTo>
                <a:lnTo>
                  <a:pt x="1731136" y="3434542"/>
                </a:lnTo>
                <a:close/>
                <a:moveTo>
                  <a:pt x="2965904" y="0"/>
                </a:moveTo>
                <a:lnTo>
                  <a:pt x="3196732" y="0"/>
                </a:lnTo>
                <a:lnTo>
                  <a:pt x="1531590" y="3434542"/>
                </a:lnTo>
                <a:lnTo>
                  <a:pt x="3200863" y="6858000"/>
                </a:lnTo>
                <a:lnTo>
                  <a:pt x="2969345" y="6858000"/>
                </a:lnTo>
                <a:lnTo>
                  <a:pt x="1300762" y="3434542"/>
                </a:lnTo>
                <a:close/>
                <a:moveTo>
                  <a:pt x="2506592" y="0"/>
                </a:moveTo>
                <a:lnTo>
                  <a:pt x="2690136" y="0"/>
                </a:lnTo>
                <a:lnTo>
                  <a:pt x="1025582" y="3434542"/>
                </a:lnTo>
                <a:lnTo>
                  <a:pt x="2694165" y="6858000"/>
                </a:lnTo>
                <a:lnTo>
                  <a:pt x="2510651" y="6858000"/>
                </a:lnTo>
                <a:lnTo>
                  <a:pt x="842068" y="3434542"/>
                </a:lnTo>
                <a:lnTo>
                  <a:pt x="859272" y="3398698"/>
                </a:lnTo>
                <a:close/>
                <a:moveTo>
                  <a:pt x="2066862" y="0"/>
                </a:moveTo>
                <a:lnTo>
                  <a:pt x="2178634" y="0"/>
                </a:lnTo>
                <a:lnTo>
                  <a:pt x="513490" y="3434542"/>
                </a:lnTo>
                <a:lnTo>
                  <a:pt x="2182763" y="6858000"/>
                </a:lnTo>
                <a:lnTo>
                  <a:pt x="2070961" y="6858000"/>
                </a:lnTo>
                <a:lnTo>
                  <a:pt x="402378" y="3434542"/>
                </a:lnTo>
                <a:lnTo>
                  <a:pt x="412414" y="3413036"/>
                </a:lnTo>
                <a:close/>
                <a:moveTo>
                  <a:pt x="1664655" y="0"/>
                </a:moveTo>
                <a:lnTo>
                  <a:pt x="1736238" y="0"/>
                </a:lnTo>
                <a:lnTo>
                  <a:pt x="71684" y="3434542"/>
                </a:lnTo>
                <a:lnTo>
                  <a:pt x="1740267" y="6858000"/>
                </a:lnTo>
                <a:lnTo>
                  <a:pt x="1668582" y="6858000"/>
                </a:lnTo>
                <a:lnTo>
                  <a:pt x="0" y="3434545"/>
                </a:lnTo>
                <a:lnTo>
                  <a:pt x="0" y="3434539"/>
                </a:lnTo>
                <a:lnTo>
                  <a:pt x="7167" y="3420921"/>
                </a:lnTo>
                <a:close/>
              </a:path>
            </a:pathLst>
          </a:custGeom>
          <a:solidFill>
            <a:schemeClr val="tx2"/>
          </a:solidFill>
          <a:effectLst/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>
                <a:solidFill>
                  <a:schemeClr val="bg1"/>
                </a:solidFill>
              </a:defRPr>
            </a:lvl1pPr>
          </a:lstStyle>
          <a:p>
            <a:pPr marL="146300" lvl="0" indent="-146300" algn="ctr"/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441953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49" grpId="0"/>
    </p:bld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A1E213FD-E20C-4955-AB68-4B16555D66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15344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6371E0D4-55F6-4F59-A643-9DD9E4BB98DD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6223000" y="1559985"/>
            <a:ext cx="5630333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8E4B857-1F25-4E3B-A2AD-65010C2F043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8667" y="1559985"/>
            <a:ext cx="5630333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C3261A3D-05BE-4B1A-8A30-3DEEB79D9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ECD41176-1FD4-461B-A7E5-591EE35F29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667" y="4037417"/>
            <a:ext cx="11515200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2882790-5AFC-42EC-B432-EA93D508A96D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B947B2F4-E4DE-4C56-B672-FE8A901AB6A1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1C687D75-B3C0-47F5-811A-0D461CB52A4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E11D5832-224B-4E73-B471-75E9C030203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0" name="Group 6">
            <a:extLst>
              <a:ext uri="{FF2B5EF4-FFF2-40B4-BE49-F238E27FC236}">
                <a16:creationId xmlns:a16="http://schemas.microsoft.com/office/drawing/2014/main" id="{3F88A042-93EE-4B67-AD70-3CACDB1593C5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DFE1B683-0AE3-4773-8535-217160B94627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47B200BC-87BE-4630-B200-8163A743B25E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2DE4D344-BDC9-4338-956D-D46C62CF2908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7E4201D1-9A5B-47BD-9922-B3BDF295C832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CB9D8DA2-151B-4CD8-A52A-9476BBA8D008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746436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texte 10">
            <a:extLst>
              <a:ext uri="{FF2B5EF4-FFF2-40B4-BE49-F238E27FC236}">
                <a16:creationId xmlns:a16="http://schemas.microsoft.com/office/drawing/2014/main" id="{80B924F1-AD59-4824-88A4-85E9B63DAD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15344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A5B9E87F-D3B1-42E9-9786-CE1B14AD8C77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6223000" y="1559985"/>
            <a:ext cx="5630333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56E6070-4363-43CC-8338-0591491C1722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6223000" y="4039660"/>
            <a:ext cx="5630333" cy="2248957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4" name="Titre 23">
            <a:extLst>
              <a:ext uri="{FF2B5EF4-FFF2-40B4-BE49-F238E27FC236}">
                <a16:creationId xmlns:a16="http://schemas.microsoft.com/office/drawing/2014/main" id="{6B9FD356-F297-400C-9222-CB391E39E8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CEEA9148-E0F1-4A16-A14B-7FAFC230CA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8667" y="1559985"/>
            <a:ext cx="5630333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121908A-92C7-414A-AC25-6C0DE4927E6A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338667" y="4039660"/>
            <a:ext cx="5630333" cy="2248957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C3A197C-40AD-443A-B9EA-648EC181C45E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2DAB25BB-260E-4C8C-9A92-A13BB83F11D6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51060F1-E1D5-40B8-96EF-6B74A02CC122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D9420F3C-4F52-4583-870E-F1E23700569D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 6">
            <a:extLst>
              <a:ext uri="{FF2B5EF4-FFF2-40B4-BE49-F238E27FC236}">
                <a16:creationId xmlns:a16="http://schemas.microsoft.com/office/drawing/2014/main" id="{5DA02A20-9CB6-4C91-88D4-EA98CA8DB400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8F66D35-83CF-469A-8E24-8D889BD823B9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010676D5-DA31-43D8-8130-2FC423F6F1DA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902D8897-01DF-454A-9693-5AD5F61A671B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1BE48758-7190-44EE-B920-AC56D81BDE08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EA470CB3-8EFA-4E5E-A7EF-5BA3465D9D0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42419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10">
            <a:extLst>
              <a:ext uri="{FF2B5EF4-FFF2-40B4-BE49-F238E27FC236}">
                <a16:creationId xmlns:a16="http://schemas.microsoft.com/office/drawing/2014/main" id="{669D26AF-D380-47F9-A37B-55BE689EAE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15344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5C677D83-9A19-43A8-8FE5-B200C1AB99E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338667" y="1559985"/>
            <a:ext cx="5630333" cy="4728632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0" name="Titre 19">
            <a:extLst>
              <a:ext uri="{FF2B5EF4-FFF2-40B4-BE49-F238E27FC236}">
                <a16:creationId xmlns:a16="http://schemas.microsoft.com/office/drawing/2014/main" id="{9CB99764-F215-4875-8D7E-4B674C3BE5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FC95569C-A80C-433E-A59A-7B19F5F6CBEA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23000" y="1559985"/>
            <a:ext cx="5630333" cy="4728632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8F5EB32-CA91-4DF3-B4EB-F1494E4CDCE8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0C0BE5A-8CD9-4EDA-8CC5-1C246909897C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439298B-39FA-4F36-AF8A-29461E2819AB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E361A1D-A889-4F40-A8ED-91645CB71E96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oup 6">
            <a:extLst>
              <a:ext uri="{FF2B5EF4-FFF2-40B4-BE49-F238E27FC236}">
                <a16:creationId xmlns:a16="http://schemas.microsoft.com/office/drawing/2014/main" id="{EC2E214C-B7CB-441A-9C19-96337D22CDD1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31D242BC-A0DB-4D04-8DFF-388CF3E5BD1B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95F5FEEE-4D75-44DC-932E-5C0597A8D1E1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4527C304-4A6A-40DB-8A65-7EB7457CACAC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E6F0A951-3DB7-4B68-A1C3-02E61A3E1B3E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2599DDCB-024E-4887-8E50-23044B1B42E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39294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F62CD7B5-4EC5-4AEF-9061-B82B2A6900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15344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D942106D-A7BA-423B-A34F-F83869A43D6E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338667" y="1559985"/>
            <a:ext cx="5630333" cy="4728632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0CF2A6DC-EC1D-4DF9-9D19-0326F3319531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223000" y="1559985"/>
            <a:ext cx="5630333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D2046EC2-23D2-4E5B-9751-574AB94A3B69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6223000" y="4039660"/>
            <a:ext cx="5630333" cy="2248957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4" name="Titre 23">
            <a:extLst>
              <a:ext uri="{FF2B5EF4-FFF2-40B4-BE49-F238E27FC236}">
                <a16:creationId xmlns:a16="http://schemas.microsoft.com/office/drawing/2014/main" id="{17AB1C6C-7EFF-4961-A30D-DFDD0D9D73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6988567-D995-4ABC-9D11-1863CD46FBF9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2393FF8A-EAA6-4B7C-A4D5-621359FF248A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68678D-9570-475A-A5F5-9747882F06D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C2E0F53-090F-4139-A427-504FAA18374E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0" name="Group 6">
            <a:extLst>
              <a:ext uri="{FF2B5EF4-FFF2-40B4-BE49-F238E27FC236}">
                <a16:creationId xmlns:a16="http://schemas.microsoft.com/office/drawing/2014/main" id="{D63EE96D-C8D5-47EA-AFB1-CEF1AF76774E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DD3E135C-38B2-4C4E-A4FF-2CCFDACEB18B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2FE0A005-D93D-4DB4-8222-F87F1AC5C5BC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40B2185A-5748-4F16-A7FE-3558E05B653D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EC224EA2-2028-440D-883D-CAA3BD225C41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4E24ED18-D4A5-48D3-944B-E23111E17BD2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841258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0578376B-8826-4CA9-AA15-43AD2C2D91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15344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35C0AC94-9E05-42B2-91E7-D390447400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57DFE15E-B2FE-4427-B6F2-A351353574FC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23000" y="1559985"/>
            <a:ext cx="5630333" cy="4728632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C1B3EB88-E182-416C-9316-B5DBB405A2E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8667" y="1559985"/>
            <a:ext cx="5630333" cy="22512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ECAE18A9-14CE-431F-A79B-78085CC207A0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338667" y="4039660"/>
            <a:ext cx="5630333" cy="2248957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6C07184-F1BE-4CD6-A7E7-95D3C5EF3D68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D41979AE-6467-4218-827B-246988445FFB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735F3B5-794D-4F90-8DCB-FB6A800FC3FD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88ECDD2-FD7A-44A5-80D0-45330CC3A8AA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0" name="Group 6">
            <a:extLst>
              <a:ext uri="{FF2B5EF4-FFF2-40B4-BE49-F238E27FC236}">
                <a16:creationId xmlns:a16="http://schemas.microsoft.com/office/drawing/2014/main" id="{C9989C1A-00D7-4BCA-A6C4-5E21CEB6F2F4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643F6A7C-A617-4FA8-BB2E-F501EE5F66FE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420204D5-083C-442A-936B-AEDAA9CB3403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8CD375C9-4790-4BFF-A46C-B4772D8882B5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40F0E497-1879-4884-8D90-BDF612BF1DF6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FDCCA62B-6F53-4B57-96A9-07632B69D56F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274705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texte 10">
            <a:extLst>
              <a:ext uri="{FF2B5EF4-FFF2-40B4-BE49-F238E27FC236}">
                <a16:creationId xmlns:a16="http://schemas.microsoft.com/office/drawing/2014/main" id="{199F1E9E-F43F-4E88-9880-2FC6649656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15344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9BFD1C1-2DE3-4C3E-A37F-741E2980069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8667" y="1335036"/>
            <a:ext cx="5630400" cy="517064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 on </a:t>
            </a:r>
            <a:br>
              <a:rPr lang="en-US" dirty="0"/>
            </a:br>
            <a:r>
              <a:rPr lang="en-US" dirty="0"/>
              <a:t>two line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14B52D54-D3DC-47C0-9F5A-4474BDF0364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8667" y="2121653"/>
            <a:ext cx="5630333" cy="4166964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6E3FEA5-7295-445A-B686-95D5611FF61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22933" y="1335036"/>
            <a:ext cx="5630400" cy="517064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 on </a:t>
            </a:r>
            <a:br>
              <a:rPr lang="en-US" dirty="0"/>
            </a:br>
            <a:r>
              <a:rPr lang="en-US" dirty="0"/>
              <a:t>two lin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8D8C24C4-A463-4C30-A922-DDE2C59BE470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23000" y="2121653"/>
            <a:ext cx="5630333" cy="4166964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33" name="Titre 32">
            <a:extLst>
              <a:ext uri="{FF2B5EF4-FFF2-40B4-BE49-F238E27FC236}">
                <a16:creationId xmlns:a16="http://schemas.microsoft.com/office/drawing/2014/main" id="{1668648D-1A71-45A6-8938-21F200AF7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52E7A335-39A9-4AD9-8C4B-246519C8CA61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4D964C67-36F3-4F78-92DE-4874E5EEFFE6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3A11E583-CC94-4A1B-A3C0-38DC85F7AB80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F00D53B-C100-479C-8435-51A8BABACFEA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 6">
            <a:extLst>
              <a:ext uri="{FF2B5EF4-FFF2-40B4-BE49-F238E27FC236}">
                <a16:creationId xmlns:a16="http://schemas.microsoft.com/office/drawing/2014/main" id="{B4E31A03-F5E5-408F-B408-8A1C9B118959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5554FE8-D664-4037-8E9D-4C7C77CDA70C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7B2B1095-4A3A-430B-BC8A-F469F028AC45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62344B73-FB4F-403D-9813-1605D75B0840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515B9464-AE2B-4BF8-93B5-D0E409D33926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97F11C3D-7ECF-42C0-AF05-629401856580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225632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2 - Spli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texte 10">
            <a:extLst>
              <a:ext uri="{FF2B5EF4-FFF2-40B4-BE49-F238E27FC236}">
                <a16:creationId xmlns:a16="http://schemas.microsoft.com/office/drawing/2014/main" id="{0435FF82-D0C1-4276-9BCF-7C4A814EA9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15344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2C691F-F0E9-4C11-8945-68CDA9497E4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8667" y="1335037"/>
            <a:ext cx="5630400" cy="258532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F65C258C-959A-4A08-AC42-B64FEC86F56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8667" y="1863121"/>
            <a:ext cx="5630333" cy="21024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56A624C-89EE-40A4-B110-DAA87220B84E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22933" y="1335037"/>
            <a:ext cx="5630400" cy="258532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73583236-4AA8-498A-9BE7-2CAECA6AF7B2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23000" y="1863121"/>
            <a:ext cx="5630333" cy="21024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7" name="Titre 26">
            <a:extLst>
              <a:ext uri="{FF2B5EF4-FFF2-40B4-BE49-F238E27FC236}">
                <a16:creationId xmlns:a16="http://schemas.microsoft.com/office/drawing/2014/main" id="{F6A27B6A-075D-4824-B4FE-B0B9F75690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0764B1B-A341-4DA2-A0E1-CE5D9BA84944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8667" y="4188672"/>
            <a:ext cx="5630333" cy="21024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FF272557-AAFE-4C1A-B0E9-F14A7A220BE5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6223000" y="4188672"/>
            <a:ext cx="5630333" cy="21024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45EA247-F3B7-493F-A8D9-7CFA06278482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0558CF4E-D319-41D8-BC2E-6C855B8A3852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2447A7F-2C50-4A52-B402-410EC1B0A225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835DB7-C1D3-4DA9-A769-2235F40821A1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" name="Group 6">
            <a:extLst>
              <a:ext uri="{FF2B5EF4-FFF2-40B4-BE49-F238E27FC236}">
                <a16:creationId xmlns:a16="http://schemas.microsoft.com/office/drawing/2014/main" id="{1815AB9D-6884-4806-9138-1D5078F4B270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0138632-236D-4A2A-A8D7-251F20163994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13FEBF5-327C-4F3B-84E5-562BF1DF5295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57B33B1-BB50-4373-815E-1B539D8536F7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364A3BA4-12C9-4E5C-99A4-6233C96886AB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059086FA-8D27-46FB-8340-2A37802CE877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96931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u texte 10">
            <a:extLst>
              <a:ext uri="{FF2B5EF4-FFF2-40B4-BE49-F238E27FC236}">
                <a16:creationId xmlns:a16="http://schemas.microsoft.com/office/drawing/2014/main" id="{F6A4B138-B2F9-4AE2-8521-24A05B76D1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15344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E028069-E1A3-4F4E-AAFA-385C2685F5D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8667" y="1335037"/>
            <a:ext cx="5630400" cy="258532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92F247E-4922-4DDB-8EA6-23713FA7F08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8667" y="1863122"/>
            <a:ext cx="5630333" cy="1831365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7BD60B3-1E2F-4299-891B-C891A0FECC1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22933" y="1335037"/>
            <a:ext cx="5630400" cy="258532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4AA82F6-B5BE-4C4E-8419-E5601C6D4866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8667" y="3931622"/>
            <a:ext cx="5630400" cy="258532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1EE8F3D2-DF58-4D96-AA95-1FD1AB146B55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338667" y="4459707"/>
            <a:ext cx="5630333" cy="1831365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05066E87-CD49-4BD4-AB5A-FFC86B58E479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223000" y="1863122"/>
            <a:ext cx="5630333" cy="1831365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E11D5F49-A95B-4707-8D06-05635D112DF7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6222933" y="3931622"/>
            <a:ext cx="5630400" cy="258532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B9388BF0-4514-419E-A2CB-9753357C8167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6223000" y="4459707"/>
            <a:ext cx="5630333" cy="1831365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34" name="Titre 33">
            <a:extLst>
              <a:ext uri="{FF2B5EF4-FFF2-40B4-BE49-F238E27FC236}">
                <a16:creationId xmlns:a16="http://schemas.microsoft.com/office/drawing/2014/main" id="{8E88DD22-9C1A-4944-BBD0-D373DCB9AF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DBED346-6008-4058-97F0-9140562ADD48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2E762F86-7AA8-42A1-8757-0FE6124DC80C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74FFBF2-AB73-4F3C-B29E-F47D83725239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0C6D25B-0537-4BAF-BFA1-D99984FC138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6">
            <a:extLst>
              <a:ext uri="{FF2B5EF4-FFF2-40B4-BE49-F238E27FC236}">
                <a16:creationId xmlns:a16="http://schemas.microsoft.com/office/drawing/2014/main" id="{85E39F5A-5A27-4968-AC2E-80C4909EB17F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8B8BB409-EE0B-4FCE-8699-0948E0C8C9F3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FDC95004-BC83-4677-A3AE-35A8DAAE3EC6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1F8D2CA4-CA6B-465D-9640-9C0EEF3D518E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86C1D4D5-58EC-415B-A665-015F9C26927A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92E3A704-F8C6-419F-8F3E-F74377CCCC5D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7696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3 -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8667" y="1335037"/>
            <a:ext cx="3667200" cy="258532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8667" y="1863120"/>
            <a:ext cx="3668184" cy="4427952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262400" y="1860672"/>
            <a:ext cx="3667200" cy="44304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D00BD138-D0EB-471F-8959-D06CEB58A2E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186133" y="1860672"/>
            <a:ext cx="3667200" cy="4430400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3" name="Espace réservé du texte 10">
            <a:extLst>
              <a:ext uri="{FF2B5EF4-FFF2-40B4-BE49-F238E27FC236}">
                <a16:creationId xmlns:a16="http://schemas.microsoft.com/office/drawing/2014/main" id="{EF8597F6-E8D3-4055-B3C0-33A809E9B0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7464" y="835320"/>
            <a:ext cx="11534400" cy="295465"/>
          </a:xfrm>
          <a:noFill/>
          <a:effectLst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1pPr>
            <a:lvl2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2pPr>
            <a:lvl3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4pPr>
            <a:lvl5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5pPr>
            <a:lvl6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6pPr>
            <a:lvl7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7pPr>
            <a:lvl8pPr marL="0" indent="0" algn="l">
              <a:spcBef>
                <a:spcPts val="0"/>
              </a:spcBef>
              <a:buNone/>
              <a:defRPr lang="fr-FR" sz="2133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8pPr>
            <a:lvl9pPr marL="0" indent="0" algn="l">
              <a:spcBef>
                <a:spcPts val="0"/>
              </a:spcBef>
              <a:buNone/>
              <a:defRPr lang="en-US" sz="1867" b="0" kern="1200" dirty="0" smtClean="0">
                <a:solidFill>
                  <a:srgbClr val="768A9A"/>
                </a:solidFill>
                <a:latin typeface="Arial"/>
                <a:ea typeface="+mn-ea"/>
                <a:cs typeface="Mongolian Baiti" panose="03000500000000000000" pitchFamily="66" charset="0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12E6803B-C620-4C52-B6FD-1DA08572C089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262400" y="1335037"/>
            <a:ext cx="3667200" cy="258532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02046F3-C792-438F-A842-976FD4BE5E2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86133" y="1335037"/>
            <a:ext cx="3667200" cy="258532"/>
          </a:xfrm>
          <a:noFill/>
          <a:effectLst/>
        </p:spPr>
        <p:txBody>
          <a:bodyPr lIns="0" tIns="0" rIns="0" bIns="0" anchor="t">
            <a:spAutoFit/>
          </a:bodyPr>
          <a:lstStyle>
            <a:lvl1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buNone/>
              <a:defRPr lang="en-US" sz="1867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buNone/>
              <a:defRPr lang="en-US" sz="1867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9" name="Titre 28">
            <a:extLst>
              <a:ext uri="{FF2B5EF4-FFF2-40B4-BE49-F238E27FC236}">
                <a16:creationId xmlns:a16="http://schemas.microsoft.com/office/drawing/2014/main" id="{DD8C6504-52B1-4836-AA8A-EC9BC0CD37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E81634F-FC75-4000-8DE4-A4C3D8D5F964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79A333DE-FBE1-408A-8952-BEB7EA2F9275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4ACC68F-9885-4FE9-846E-C99194A2D15A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8EF7119-45EF-47AF-8787-178E2B15DEF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" name="Group 6">
            <a:extLst>
              <a:ext uri="{FF2B5EF4-FFF2-40B4-BE49-F238E27FC236}">
                <a16:creationId xmlns:a16="http://schemas.microsoft.com/office/drawing/2014/main" id="{6C01EA47-A6B4-4DF3-B436-14F25B22C45C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4C8AB1C-A7EF-417B-81A1-7C48B79D5FCF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F0442F4-88AB-4A45-BCFB-26A2475DA89B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E7C171B3-BE9D-42EB-A6F0-DF3700F055BC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D6DB2D5E-DD25-43B5-A37C-04C773D74632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C12B48A5-0FC5-4686-922C-9E13364E794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38914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1">
    <p:bg>
      <p:bgPr>
        <a:gradFill>
          <a:gsLst>
            <a:gs pos="0">
              <a:srgbClr val="430099">
                <a:alpha val="95000"/>
              </a:srgbClr>
            </a:gs>
            <a:gs pos="100000">
              <a:srgbClr val="4B00B0">
                <a:alpha val="95000"/>
              </a:srgbClr>
            </a:gs>
            <a:gs pos="30000">
              <a:srgbClr val="4B00B0">
                <a:alpha val="70000"/>
              </a:srgb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 Placeholder 3">
            <a:extLst>
              <a:ext uri="{FF2B5EF4-FFF2-40B4-BE49-F238E27FC236}">
                <a16:creationId xmlns:a16="http://schemas.microsoft.com/office/drawing/2014/main" id="{07450D3B-EC70-4364-BB30-3B2CE89BFD0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11396" y="1943763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>
                <a:solidFill>
                  <a:schemeClr val="bg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First name NAME</a:t>
            </a:r>
          </a:p>
        </p:txBody>
      </p:sp>
      <p:sp>
        <p:nvSpPr>
          <p:cNvPr id="101" name="Text Placeholder 3">
            <a:extLst>
              <a:ext uri="{FF2B5EF4-FFF2-40B4-BE49-F238E27FC236}">
                <a16:creationId xmlns:a16="http://schemas.microsoft.com/office/drawing/2014/main" id="{5F1D26DD-44E7-433E-808D-421951D360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11396" y="2163219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bg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Job Title / Service</a:t>
            </a:r>
          </a:p>
        </p:txBody>
      </p:sp>
      <p:sp>
        <p:nvSpPr>
          <p:cNvPr id="102" name="Text Placeholder 3">
            <a:extLst>
              <a:ext uri="{FF2B5EF4-FFF2-40B4-BE49-F238E27FC236}">
                <a16:creationId xmlns:a16="http://schemas.microsoft.com/office/drawing/2014/main" id="{9DB4A80A-3E62-449A-947C-1A1D6F3D02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711396" y="2394867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bg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03" name="Text Placeholder 3">
            <a:extLst>
              <a:ext uri="{FF2B5EF4-FFF2-40B4-BE49-F238E27FC236}">
                <a16:creationId xmlns:a16="http://schemas.microsoft.com/office/drawing/2014/main" id="{FE3637C7-EEAB-4DFD-B6C3-78AEF0139B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11396" y="2736243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bg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firstname.lastname@idemia.com</a:t>
            </a:r>
          </a:p>
        </p:txBody>
      </p:sp>
      <p:sp>
        <p:nvSpPr>
          <p:cNvPr id="104" name="Text Placeholder 3">
            <a:extLst>
              <a:ext uri="{FF2B5EF4-FFF2-40B4-BE49-F238E27FC236}">
                <a16:creationId xmlns:a16="http://schemas.microsoft.com/office/drawing/2014/main" id="{638896C9-6B76-4FB7-9297-9E523CE808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396" y="3065427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bg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P. +33 (0) 00 00 00 00</a:t>
            </a:r>
          </a:p>
        </p:txBody>
      </p:sp>
      <p:sp>
        <p:nvSpPr>
          <p:cNvPr id="105" name="Text Placeholder 3">
            <a:extLst>
              <a:ext uri="{FF2B5EF4-FFF2-40B4-BE49-F238E27FC236}">
                <a16:creationId xmlns:a16="http://schemas.microsoft.com/office/drawing/2014/main" id="{F7CEB460-A4BC-47D4-928D-B0C56B4D58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11396" y="3309267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bg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M. +33 (0) 00 00 00 00</a:t>
            </a: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0C5887BC-1460-4F11-9511-363049C4C8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11396" y="3553107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bg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F. +33 (0) 00 00 00 00</a:t>
            </a:r>
          </a:p>
        </p:txBody>
      </p:sp>
      <p:sp>
        <p:nvSpPr>
          <p:cNvPr id="96" name="Forme libre : forme 95">
            <a:extLst>
              <a:ext uri="{FF2B5EF4-FFF2-40B4-BE49-F238E27FC236}">
                <a16:creationId xmlns:a16="http://schemas.microsoft.com/office/drawing/2014/main" id="{3B8C46DD-6C64-4A9A-992A-9A7CCF117E88}"/>
              </a:ext>
            </a:extLst>
          </p:cNvPr>
          <p:cNvSpPr/>
          <p:nvPr userDrawn="1"/>
        </p:nvSpPr>
        <p:spPr>
          <a:xfrm>
            <a:off x="5347946" y="0"/>
            <a:ext cx="1740267" cy="6858000"/>
          </a:xfrm>
          <a:custGeom>
            <a:avLst/>
            <a:gdLst>
              <a:gd name="connsiteX0" fmla="*/ 4029 w 1740267"/>
              <a:gd name="connsiteY0" fmla="*/ 0 h 6858000"/>
              <a:gd name="connsiteX1" fmla="*/ 75612 w 1740267"/>
              <a:gd name="connsiteY1" fmla="*/ 0 h 6858000"/>
              <a:gd name="connsiteX2" fmla="*/ 1733100 w 1740267"/>
              <a:gd name="connsiteY2" fmla="*/ 3420921 h 6858000"/>
              <a:gd name="connsiteX3" fmla="*/ 1740267 w 1740267"/>
              <a:gd name="connsiteY3" fmla="*/ 3434539 h 6858000"/>
              <a:gd name="connsiteX4" fmla="*/ 1740267 w 1740267"/>
              <a:gd name="connsiteY4" fmla="*/ 3434545 h 6858000"/>
              <a:gd name="connsiteX5" fmla="*/ 71685 w 1740267"/>
              <a:gd name="connsiteY5" fmla="*/ 6858000 h 6858000"/>
              <a:gd name="connsiteX6" fmla="*/ 0 w 1740267"/>
              <a:gd name="connsiteY6" fmla="*/ 6858000 h 6858000"/>
              <a:gd name="connsiteX7" fmla="*/ 1668583 w 1740267"/>
              <a:gd name="connsiteY7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40267" h="6858000">
                <a:moveTo>
                  <a:pt x="4029" y="0"/>
                </a:moveTo>
                <a:lnTo>
                  <a:pt x="75612" y="0"/>
                </a:lnTo>
                <a:lnTo>
                  <a:pt x="1733100" y="3420921"/>
                </a:lnTo>
                <a:lnTo>
                  <a:pt x="1740267" y="3434539"/>
                </a:lnTo>
                <a:lnTo>
                  <a:pt x="1740267" y="3434545"/>
                </a:lnTo>
                <a:lnTo>
                  <a:pt x="71685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4" name="Forme libre : forme 93">
            <a:extLst>
              <a:ext uri="{FF2B5EF4-FFF2-40B4-BE49-F238E27FC236}">
                <a16:creationId xmlns:a16="http://schemas.microsoft.com/office/drawing/2014/main" id="{4CAC1A76-E961-447F-B261-F4C6E6021775}"/>
              </a:ext>
            </a:extLst>
          </p:cNvPr>
          <p:cNvSpPr/>
          <p:nvPr userDrawn="1"/>
        </p:nvSpPr>
        <p:spPr>
          <a:xfrm>
            <a:off x="4905450" y="0"/>
            <a:ext cx="1780385" cy="6858000"/>
          </a:xfrm>
          <a:custGeom>
            <a:avLst/>
            <a:gdLst>
              <a:gd name="connsiteX0" fmla="*/ 4129 w 1780385"/>
              <a:gd name="connsiteY0" fmla="*/ 0 h 6858000"/>
              <a:gd name="connsiteX1" fmla="*/ 115901 w 1780385"/>
              <a:gd name="connsiteY1" fmla="*/ 0 h 6858000"/>
              <a:gd name="connsiteX2" fmla="*/ 1770349 w 1780385"/>
              <a:gd name="connsiteY2" fmla="*/ 3413036 h 6858000"/>
              <a:gd name="connsiteX3" fmla="*/ 1780385 w 1780385"/>
              <a:gd name="connsiteY3" fmla="*/ 3434542 h 6858000"/>
              <a:gd name="connsiteX4" fmla="*/ 111802 w 1780385"/>
              <a:gd name="connsiteY4" fmla="*/ 6858000 h 6858000"/>
              <a:gd name="connsiteX5" fmla="*/ 0 w 1780385"/>
              <a:gd name="connsiteY5" fmla="*/ 6858000 h 6858000"/>
              <a:gd name="connsiteX6" fmla="*/ 1669273 w 1780385"/>
              <a:gd name="connsiteY6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0385" h="6858000">
                <a:moveTo>
                  <a:pt x="4129" y="0"/>
                </a:moveTo>
                <a:lnTo>
                  <a:pt x="115901" y="0"/>
                </a:lnTo>
                <a:lnTo>
                  <a:pt x="1770349" y="3413036"/>
                </a:lnTo>
                <a:lnTo>
                  <a:pt x="1780385" y="3434542"/>
                </a:lnTo>
                <a:lnTo>
                  <a:pt x="111802" y="6858000"/>
                </a:lnTo>
                <a:lnTo>
                  <a:pt x="0" y="6858000"/>
                </a:lnTo>
                <a:lnTo>
                  <a:pt x="1669273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2" name="Forme libre : forme 91">
            <a:extLst>
              <a:ext uri="{FF2B5EF4-FFF2-40B4-BE49-F238E27FC236}">
                <a16:creationId xmlns:a16="http://schemas.microsoft.com/office/drawing/2014/main" id="{F53B7F54-F668-4932-8716-5F7CB4DED843}"/>
              </a:ext>
            </a:extLst>
          </p:cNvPr>
          <p:cNvSpPr/>
          <p:nvPr userDrawn="1"/>
        </p:nvSpPr>
        <p:spPr>
          <a:xfrm>
            <a:off x="4394048" y="0"/>
            <a:ext cx="1852097" cy="6858000"/>
          </a:xfrm>
          <a:custGeom>
            <a:avLst/>
            <a:gdLst>
              <a:gd name="connsiteX0" fmla="*/ 4029 w 1852097"/>
              <a:gd name="connsiteY0" fmla="*/ 0 h 6858000"/>
              <a:gd name="connsiteX1" fmla="*/ 187573 w 1852097"/>
              <a:gd name="connsiteY1" fmla="*/ 0 h 6858000"/>
              <a:gd name="connsiteX2" fmla="*/ 1834893 w 1852097"/>
              <a:gd name="connsiteY2" fmla="*/ 3398698 h 6858000"/>
              <a:gd name="connsiteX3" fmla="*/ 1852097 w 1852097"/>
              <a:gd name="connsiteY3" fmla="*/ 3434542 h 6858000"/>
              <a:gd name="connsiteX4" fmla="*/ 183514 w 1852097"/>
              <a:gd name="connsiteY4" fmla="*/ 6858000 h 6858000"/>
              <a:gd name="connsiteX5" fmla="*/ 0 w 1852097"/>
              <a:gd name="connsiteY5" fmla="*/ 6858000 h 6858000"/>
              <a:gd name="connsiteX6" fmla="*/ 1668583 w 1852097"/>
              <a:gd name="connsiteY6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2097" h="6858000">
                <a:moveTo>
                  <a:pt x="4029" y="0"/>
                </a:moveTo>
                <a:lnTo>
                  <a:pt x="187573" y="0"/>
                </a:lnTo>
                <a:lnTo>
                  <a:pt x="1834893" y="3398698"/>
                </a:lnTo>
                <a:lnTo>
                  <a:pt x="1852097" y="3434542"/>
                </a:lnTo>
                <a:lnTo>
                  <a:pt x="183514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0" name="Forme libre : forme 89">
            <a:extLst>
              <a:ext uri="{FF2B5EF4-FFF2-40B4-BE49-F238E27FC236}">
                <a16:creationId xmlns:a16="http://schemas.microsoft.com/office/drawing/2014/main" id="{10E7791D-3455-4997-BCA3-D23E5346308F}"/>
              </a:ext>
            </a:extLst>
          </p:cNvPr>
          <p:cNvSpPr/>
          <p:nvPr userDrawn="1"/>
        </p:nvSpPr>
        <p:spPr>
          <a:xfrm>
            <a:off x="3887350" y="0"/>
            <a:ext cx="1900101" cy="6858000"/>
          </a:xfrm>
          <a:custGeom>
            <a:avLst/>
            <a:gdLst>
              <a:gd name="connsiteX0" fmla="*/ 4131 w 1900101"/>
              <a:gd name="connsiteY0" fmla="*/ 0 h 6858000"/>
              <a:gd name="connsiteX1" fmla="*/ 234959 w 1900101"/>
              <a:gd name="connsiteY1" fmla="*/ 0 h 6858000"/>
              <a:gd name="connsiteX2" fmla="*/ 1900101 w 1900101"/>
              <a:gd name="connsiteY2" fmla="*/ 3434542 h 6858000"/>
              <a:gd name="connsiteX3" fmla="*/ 231518 w 1900101"/>
              <a:gd name="connsiteY3" fmla="*/ 6858000 h 6858000"/>
              <a:gd name="connsiteX4" fmla="*/ 0 w 1900101"/>
              <a:gd name="connsiteY4" fmla="*/ 6858000 h 6858000"/>
              <a:gd name="connsiteX5" fmla="*/ 1669273 w 1900101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00101" h="6858000">
                <a:moveTo>
                  <a:pt x="4131" y="0"/>
                </a:moveTo>
                <a:lnTo>
                  <a:pt x="234959" y="0"/>
                </a:lnTo>
                <a:lnTo>
                  <a:pt x="1900101" y="3434542"/>
                </a:lnTo>
                <a:lnTo>
                  <a:pt x="231518" y="6858000"/>
                </a:lnTo>
                <a:lnTo>
                  <a:pt x="0" y="6858000"/>
                </a:lnTo>
                <a:lnTo>
                  <a:pt x="1669273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8" name="Forme libre : forme 87">
            <a:extLst>
              <a:ext uri="{FF2B5EF4-FFF2-40B4-BE49-F238E27FC236}">
                <a16:creationId xmlns:a16="http://schemas.microsoft.com/office/drawing/2014/main" id="{80E58315-E253-4AA9-9E4D-C616B40B07C4}"/>
              </a:ext>
            </a:extLst>
          </p:cNvPr>
          <p:cNvSpPr/>
          <p:nvPr userDrawn="1"/>
        </p:nvSpPr>
        <p:spPr>
          <a:xfrm>
            <a:off x="3425409" y="0"/>
            <a:ext cx="1931668" cy="6858000"/>
          </a:xfrm>
          <a:custGeom>
            <a:avLst/>
            <a:gdLst>
              <a:gd name="connsiteX0" fmla="*/ 4029 w 1931668"/>
              <a:gd name="connsiteY0" fmla="*/ 0 h 6858000"/>
              <a:gd name="connsiteX1" fmla="*/ 266526 w 1931668"/>
              <a:gd name="connsiteY1" fmla="*/ 0 h 6858000"/>
              <a:gd name="connsiteX2" fmla="*/ 1931668 w 1931668"/>
              <a:gd name="connsiteY2" fmla="*/ 3434542 h 6858000"/>
              <a:gd name="connsiteX3" fmla="*/ 263085 w 1931668"/>
              <a:gd name="connsiteY3" fmla="*/ 6858000 h 6858000"/>
              <a:gd name="connsiteX4" fmla="*/ 0 w 1931668"/>
              <a:gd name="connsiteY4" fmla="*/ 6858000 h 6858000"/>
              <a:gd name="connsiteX5" fmla="*/ 1668582 w 1931668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1668" h="6858000">
                <a:moveTo>
                  <a:pt x="4029" y="0"/>
                </a:moveTo>
                <a:lnTo>
                  <a:pt x="266526" y="0"/>
                </a:lnTo>
                <a:lnTo>
                  <a:pt x="1931668" y="3434542"/>
                </a:lnTo>
                <a:lnTo>
                  <a:pt x="263085" y="6858000"/>
                </a:lnTo>
                <a:lnTo>
                  <a:pt x="0" y="6858000"/>
                </a:lnTo>
                <a:lnTo>
                  <a:pt x="1668582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6" name="Forme libre : forme 85">
            <a:extLst>
              <a:ext uri="{FF2B5EF4-FFF2-40B4-BE49-F238E27FC236}">
                <a16:creationId xmlns:a16="http://schemas.microsoft.com/office/drawing/2014/main" id="{346B61A9-6F0E-499F-B06F-A66380D08C98}"/>
              </a:ext>
            </a:extLst>
          </p:cNvPr>
          <p:cNvSpPr/>
          <p:nvPr userDrawn="1"/>
        </p:nvSpPr>
        <p:spPr>
          <a:xfrm>
            <a:off x="2922262" y="0"/>
            <a:ext cx="2003326" cy="6858000"/>
          </a:xfrm>
          <a:custGeom>
            <a:avLst/>
            <a:gdLst>
              <a:gd name="connsiteX0" fmla="*/ 4130 w 2003326"/>
              <a:gd name="connsiteY0" fmla="*/ 0 h 6858000"/>
              <a:gd name="connsiteX1" fmla="*/ 338772 w 2003326"/>
              <a:gd name="connsiteY1" fmla="*/ 0 h 6858000"/>
              <a:gd name="connsiteX2" fmla="*/ 2003326 w 2003326"/>
              <a:gd name="connsiteY2" fmla="*/ 3434542 h 6858000"/>
              <a:gd name="connsiteX3" fmla="*/ 334743 w 2003326"/>
              <a:gd name="connsiteY3" fmla="*/ 6858000 h 6858000"/>
              <a:gd name="connsiteX4" fmla="*/ 0 w 2003326"/>
              <a:gd name="connsiteY4" fmla="*/ 6858000 h 6858000"/>
              <a:gd name="connsiteX5" fmla="*/ 1669272 w 2003326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03326" h="6858000">
                <a:moveTo>
                  <a:pt x="4130" y="0"/>
                </a:moveTo>
                <a:lnTo>
                  <a:pt x="338772" y="0"/>
                </a:lnTo>
                <a:lnTo>
                  <a:pt x="2003326" y="3434542"/>
                </a:lnTo>
                <a:lnTo>
                  <a:pt x="334743" y="6858000"/>
                </a:lnTo>
                <a:lnTo>
                  <a:pt x="0" y="6858000"/>
                </a:lnTo>
                <a:lnTo>
                  <a:pt x="1669272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4" name="Forme libre : forme 83">
            <a:extLst>
              <a:ext uri="{FF2B5EF4-FFF2-40B4-BE49-F238E27FC236}">
                <a16:creationId xmlns:a16="http://schemas.microsoft.com/office/drawing/2014/main" id="{87BF12A4-17AC-4127-A836-ADB24269AA63}"/>
              </a:ext>
            </a:extLst>
          </p:cNvPr>
          <p:cNvSpPr/>
          <p:nvPr userDrawn="1"/>
        </p:nvSpPr>
        <p:spPr>
          <a:xfrm>
            <a:off x="2416135" y="0"/>
            <a:ext cx="2027727" cy="6858000"/>
          </a:xfrm>
          <a:custGeom>
            <a:avLst/>
            <a:gdLst>
              <a:gd name="connsiteX0" fmla="*/ 4029 w 2027727"/>
              <a:gd name="connsiteY0" fmla="*/ 0 h 6858000"/>
              <a:gd name="connsiteX1" fmla="*/ 362585 w 2027727"/>
              <a:gd name="connsiteY1" fmla="*/ 0 h 6858000"/>
              <a:gd name="connsiteX2" fmla="*/ 2027727 w 2027727"/>
              <a:gd name="connsiteY2" fmla="*/ 3434542 h 6858000"/>
              <a:gd name="connsiteX3" fmla="*/ 359144 w 2027727"/>
              <a:gd name="connsiteY3" fmla="*/ 6858000 h 6858000"/>
              <a:gd name="connsiteX4" fmla="*/ 0 w 2027727"/>
              <a:gd name="connsiteY4" fmla="*/ 6858000 h 6858000"/>
              <a:gd name="connsiteX5" fmla="*/ 1668583 w 2027727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27727" h="6858000">
                <a:moveTo>
                  <a:pt x="4029" y="0"/>
                </a:moveTo>
                <a:lnTo>
                  <a:pt x="362585" y="0"/>
                </a:lnTo>
                <a:lnTo>
                  <a:pt x="2027727" y="3434542"/>
                </a:lnTo>
                <a:lnTo>
                  <a:pt x="359144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2" name="Forme libre : forme 81">
            <a:extLst>
              <a:ext uri="{FF2B5EF4-FFF2-40B4-BE49-F238E27FC236}">
                <a16:creationId xmlns:a16="http://schemas.microsoft.com/office/drawing/2014/main" id="{419F93E8-D1ED-41B7-B4BB-1B4C77EE093D}"/>
              </a:ext>
            </a:extLst>
          </p:cNvPr>
          <p:cNvSpPr/>
          <p:nvPr userDrawn="1"/>
        </p:nvSpPr>
        <p:spPr>
          <a:xfrm>
            <a:off x="1905764" y="0"/>
            <a:ext cx="2059958" cy="6858000"/>
          </a:xfrm>
          <a:custGeom>
            <a:avLst/>
            <a:gdLst>
              <a:gd name="connsiteX0" fmla="*/ 4130 w 2059958"/>
              <a:gd name="connsiteY0" fmla="*/ 0 h 6858000"/>
              <a:gd name="connsiteX1" fmla="*/ 394815 w 2059958"/>
              <a:gd name="connsiteY1" fmla="*/ 0 h 6858000"/>
              <a:gd name="connsiteX2" fmla="*/ 2059958 w 2059958"/>
              <a:gd name="connsiteY2" fmla="*/ 3434542 h 6858000"/>
              <a:gd name="connsiteX3" fmla="*/ 391375 w 2059958"/>
              <a:gd name="connsiteY3" fmla="*/ 6858000 h 6858000"/>
              <a:gd name="connsiteX4" fmla="*/ 0 w 2059958"/>
              <a:gd name="connsiteY4" fmla="*/ 6858000 h 6858000"/>
              <a:gd name="connsiteX5" fmla="*/ 1669273 w 2059958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59958" h="6858000">
                <a:moveTo>
                  <a:pt x="4130" y="0"/>
                </a:moveTo>
                <a:lnTo>
                  <a:pt x="394815" y="0"/>
                </a:lnTo>
                <a:lnTo>
                  <a:pt x="2059958" y="3434542"/>
                </a:lnTo>
                <a:lnTo>
                  <a:pt x="391375" y="6858000"/>
                </a:lnTo>
                <a:lnTo>
                  <a:pt x="0" y="6858000"/>
                </a:lnTo>
                <a:lnTo>
                  <a:pt x="1669273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9" name="Forme libre : forme 78">
            <a:extLst>
              <a:ext uri="{FF2B5EF4-FFF2-40B4-BE49-F238E27FC236}">
                <a16:creationId xmlns:a16="http://schemas.microsoft.com/office/drawing/2014/main" id="{0A70E80B-0D12-454A-9575-BBF5765833F5}"/>
              </a:ext>
            </a:extLst>
          </p:cNvPr>
          <p:cNvSpPr/>
          <p:nvPr userDrawn="1"/>
        </p:nvSpPr>
        <p:spPr>
          <a:xfrm>
            <a:off x="1388165" y="0"/>
            <a:ext cx="2107297" cy="6858000"/>
          </a:xfrm>
          <a:custGeom>
            <a:avLst/>
            <a:gdLst>
              <a:gd name="connsiteX0" fmla="*/ 4029 w 2107297"/>
              <a:gd name="connsiteY0" fmla="*/ 0 h 6858000"/>
              <a:gd name="connsiteX1" fmla="*/ 442155 w 2107297"/>
              <a:gd name="connsiteY1" fmla="*/ 0 h 6858000"/>
              <a:gd name="connsiteX2" fmla="*/ 2107297 w 2107297"/>
              <a:gd name="connsiteY2" fmla="*/ 3434542 h 6858000"/>
              <a:gd name="connsiteX3" fmla="*/ 438714 w 2107297"/>
              <a:gd name="connsiteY3" fmla="*/ 6858000 h 6858000"/>
              <a:gd name="connsiteX4" fmla="*/ 0 w 2107297"/>
              <a:gd name="connsiteY4" fmla="*/ 6858000 h 6858000"/>
              <a:gd name="connsiteX5" fmla="*/ 1668583 w 2107297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7297" h="6858000">
                <a:moveTo>
                  <a:pt x="4029" y="0"/>
                </a:moveTo>
                <a:lnTo>
                  <a:pt x="442155" y="0"/>
                </a:lnTo>
                <a:lnTo>
                  <a:pt x="2107297" y="3434542"/>
                </a:lnTo>
                <a:lnTo>
                  <a:pt x="438714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7" name="Forme libre : forme 76">
            <a:extLst>
              <a:ext uri="{FF2B5EF4-FFF2-40B4-BE49-F238E27FC236}">
                <a16:creationId xmlns:a16="http://schemas.microsoft.com/office/drawing/2014/main" id="{401F66A9-E363-4D8D-B2DE-FF7806308B51}"/>
              </a:ext>
            </a:extLst>
          </p:cNvPr>
          <p:cNvSpPr/>
          <p:nvPr userDrawn="1"/>
        </p:nvSpPr>
        <p:spPr>
          <a:xfrm>
            <a:off x="889952" y="0"/>
            <a:ext cx="2115183" cy="6858000"/>
          </a:xfrm>
          <a:custGeom>
            <a:avLst/>
            <a:gdLst>
              <a:gd name="connsiteX0" fmla="*/ 4030 w 2115183"/>
              <a:gd name="connsiteY0" fmla="*/ 0 h 6858000"/>
              <a:gd name="connsiteX1" fmla="*/ 450040 w 2115183"/>
              <a:gd name="connsiteY1" fmla="*/ 0 h 6858000"/>
              <a:gd name="connsiteX2" fmla="*/ 2115183 w 2115183"/>
              <a:gd name="connsiteY2" fmla="*/ 3434542 h 6858000"/>
              <a:gd name="connsiteX3" fmla="*/ 446600 w 2115183"/>
              <a:gd name="connsiteY3" fmla="*/ 6858000 h 6858000"/>
              <a:gd name="connsiteX4" fmla="*/ 0 w 2115183"/>
              <a:gd name="connsiteY4" fmla="*/ 6858000 h 6858000"/>
              <a:gd name="connsiteX5" fmla="*/ 1668583 w 2115183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5183" h="6858000">
                <a:moveTo>
                  <a:pt x="4030" y="0"/>
                </a:moveTo>
                <a:lnTo>
                  <a:pt x="450040" y="0"/>
                </a:lnTo>
                <a:lnTo>
                  <a:pt x="2115183" y="3434542"/>
                </a:lnTo>
                <a:lnTo>
                  <a:pt x="446600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5" name="Forme libre : forme 74">
            <a:extLst>
              <a:ext uri="{FF2B5EF4-FFF2-40B4-BE49-F238E27FC236}">
                <a16:creationId xmlns:a16="http://schemas.microsoft.com/office/drawing/2014/main" id="{0722EF03-FFCE-4322-9F5C-E23465D23A8E}"/>
              </a:ext>
            </a:extLst>
          </p:cNvPr>
          <p:cNvSpPr/>
          <p:nvPr userDrawn="1"/>
        </p:nvSpPr>
        <p:spPr>
          <a:xfrm>
            <a:off x="391739" y="0"/>
            <a:ext cx="2123068" cy="6858000"/>
          </a:xfrm>
          <a:custGeom>
            <a:avLst/>
            <a:gdLst>
              <a:gd name="connsiteX0" fmla="*/ 4030 w 2123068"/>
              <a:gd name="connsiteY0" fmla="*/ 0 h 6858000"/>
              <a:gd name="connsiteX1" fmla="*/ 457925 w 2123068"/>
              <a:gd name="connsiteY1" fmla="*/ 0 h 6858000"/>
              <a:gd name="connsiteX2" fmla="*/ 2123068 w 2123068"/>
              <a:gd name="connsiteY2" fmla="*/ 3434542 h 6858000"/>
              <a:gd name="connsiteX3" fmla="*/ 454485 w 2123068"/>
              <a:gd name="connsiteY3" fmla="*/ 6858000 h 6858000"/>
              <a:gd name="connsiteX4" fmla="*/ 0 w 2123068"/>
              <a:gd name="connsiteY4" fmla="*/ 6858000 h 6858000"/>
              <a:gd name="connsiteX5" fmla="*/ 1668583 w 2123068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23068" h="6858000">
                <a:moveTo>
                  <a:pt x="4030" y="0"/>
                </a:moveTo>
                <a:lnTo>
                  <a:pt x="457925" y="0"/>
                </a:lnTo>
                <a:lnTo>
                  <a:pt x="2123068" y="3434542"/>
                </a:lnTo>
                <a:lnTo>
                  <a:pt x="454485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3" name="Forme libre : forme 72">
            <a:extLst>
              <a:ext uri="{FF2B5EF4-FFF2-40B4-BE49-F238E27FC236}">
                <a16:creationId xmlns:a16="http://schemas.microsoft.com/office/drawing/2014/main" id="{5407E861-2D21-43F6-A07F-FF72EB97E232}"/>
              </a:ext>
            </a:extLst>
          </p:cNvPr>
          <p:cNvSpPr/>
          <p:nvPr userDrawn="1"/>
        </p:nvSpPr>
        <p:spPr>
          <a:xfrm>
            <a:off x="1" y="0"/>
            <a:ext cx="2016594" cy="6858000"/>
          </a:xfrm>
          <a:custGeom>
            <a:avLst/>
            <a:gdLst>
              <a:gd name="connsiteX0" fmla="*/ 0 w 2016594"/>
              <a:gd name="connsiteY0" fmla="*/ 0 h 6858000"/>
              <a:gd name="connsiteX1" fmla="*/ 351451 w 2016594"/>
              <a:gd name="connsiteY1" fmla="*/ 0 h 6858000"/>
              <a:gd name="connsiteX2" fmla="*/ 2016594 w 2016594"/>
              <a:gd name="connsiteY2" fmla="*/ 3434542 h 6858000"/>
              <a:gd name="connsiteX3" fmla="*/ 348011 w 2016594"/>
              <a:gd name="connsiteY3" fmla="*/ 6858000 h 6858000"/>
              <a:gd name="connsiteX4" fmla="*/ 0 w 2016594"/>
              <a:gd name="connsiteY4" fmla="*/ 6858000 h 6858000"/>
              <a:gd name="connsiteX5" fmla="*/ 0 w 2016594"/>
              <a:gd name="connsiteY5" fmla="*/ 6655729 h 6858000"/>
              <a:gd name="connsiteX6" fmla="*/ 1569994 w 2016594"/>
              <a:gd name="connsiteY6" fmla="*/ 3434542 h 6858000"/>
              <a:gd name="connsiteX7" fmla="*/ 0 w 2016594"/>
              <a:gd name="connsiteY7" fmla="*/ 1951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6594" h="6858000">
                <a:moveTo>
                  <a:pt x="0" y="0"/>
                </a:moveTo>
                <a:lnTo>
                  <a:pt x="351451" y="0"/>
                </a:lnTo>
                <a:lnTo>
                  <a:pt x="2016594" y="3434542"/>
                </a:lnTo>
                <a:lnTo>
                  <a:pt x="348011" y="6858000"/>
                </a:lnTo>
                <a:lnTo>
                  <a:pt x="0" y="6858000"/>
                </a:lnTo>
                <a:lnTo>
                  <a:pt x="0" y="6655729"/>
                </a:lnTo>
                <a:lnTo>
                  <a:pt x="1569994" y="3434542"/>
                </a:lnTo>
                <a:lnTo>
                  <a:pt x="0" y="19510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1" name="Forme libre : forme 70">
            <a:extLst>
              <a:ext uri="{FF2B5EF4-FFF2-40B4-BE49-F238E27FC236}">
                <a16:creationId xmlns:a16="http://schemas.microsoft.com/office/drawing/2014/main" id="{333082C1-7502-427F-ABB8-586384355463}"/>
              </a:ext>
            </a:extLst>
          </p:cNvPr>
          <p:cNvSpPr/>
          <p:nvPr userDrawn="1"/>
        </p:nvSpPr>
        <p:spPr>
          <a:xfrm>
            <a:off x="1" y="286451"/>
            <a:ext cx="1526266" cy="6279559"/>
          </a:xfrm>
          <a:custGeom>
            <a:avLst/>
            <a:gdLst>
              <a:gd name="connsiteX0" fmla="*/ 0 w 1526266"/>
              <a:gd name="connsiteY0" fmla="*/ 0 h 6279559"/>
              <a:gd name="connsiteX1" fmla="*/ 1526266 w 1526266"/>
              <a:gd name="connsiteY1" fmla="*/ 3148093 h 6279559"/>
              <a:gd name="connsiteX2" fmla="*/ 0 w 1526266"/>
              <a:gd name="connsiteY2" fmla="*/ 6279559 h 6279559"/>
              <a:gd name="connsiteX3" fmla="*/ 0 w 1526266"/>
              <a:gd name="connsiteY3" fmla="*/ 5347085 h 6279559"/>
              <a:gd name="connsiteX4" fmla="*/ 1071781 w 1526266"/>
              <a:gd name="connsiteY4" fmla="*/ 3148093 h 6279559"/>
              <a:gd name="connsiteX5" fmla="*/ 0 w 1526266"/>
              <a:gd name="connsiteY5" fmla="*/ 936642 h 6279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6266" h="6279559">
                <a:moveTo>
                  <a:pt x="0" y="0"/>
                </a:moveTo>
                <a:lnTo>
                  <a:pt x="1526266" y="3148093"/>
                </a:lnTo>
                <a:lnTo>
                  <a:pt x="0" y="6279559"/>
                </a:lnTo>
                <a:lnTo>
                  <a:pt x="0" y="5347085"/>
                </a:lnTo>
                <a:lnTo>
                  <a:pt x="1071781" y="3148093"/>
                </a:lnTo>
                <a:lnTo>
                  <a:pt x="0" y="9366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9" name="Forme libre : forme 68">
            <a:extLst>
              <a:ext uri="{FF2B5EF4-FFF2-40B4-BE49-F238E27FC236}">
                <a16:creationId xmlns:a16="http://schemas.microsoft.com/office/drawing/2014/main" id="{F54B92F2-7AB3-4235-99FB-165E89EBF4F1}"/>
              </a:ext>
            </a:extLst>
          </p:cNvPr>
          <p:cNvSpPr/>
          <p:nvPr userDrawn="1"/>
        </p:nvSpPr>
        <p:spPr>
          <a:xfrm>
            <a:off x="0" y="1297051"/>
            <a:ext cx="1035939" cy="4262949"/>
          </a:xfrm>
          <a:custGeom>
            <a:avLst/>
            <a:gdLst>
              <a:gd name="connsiteX0" fmla="*/ 0 w 1035939"/>
              <a:gd name="connsiteY0" fmla="*/ 0 h 4262949"/>
              <a:gd name="connsiteX1" fmla="*/ 1035939 w 1035939"/>
              <a:gd name="connsiteY1" fmla="*/ 2137495 h 4262949"/>
              <a:gd name="connsiteX2" fmla="*/ 0 w 1035939"/>
              <a:gd name="connsiteY2" fmla="*/ 4262949 h 4262949"/>
              <a:gd name="connsiteX3" fmla="*/ 0 w 1035939"/>
              <a:gd name="connsiteY3" fmla="*/ 3314296 h 4262949"/>
              <a:gd name="connsiteX4" fmla="*/ 573569 w 1035939"/>
              <a:gd name="connsiteY4" fmla="*/ 2137495 h 4262949"/>
              <a:gd name="connsiteX5" fmla="*/ 0 w 1035939"/>
              <a:gd name="connsiteY5" fmla="*/ 954028 h 4262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35939" h="4262949">
                <a:moveTo>
                  <a:pt x="0" y="0"/>
                </a:moveTo>
                <a:lnTo>
                  <a:pt x="1035939" y="2137495"/>
                </a:lnTo>
                <a:lnTo>
                  <a:pt x="0" y="4262949"/>
                </a:lnTo>
                <a:lnTo>
                  <a:pt x="0" y="3314296"/>
                </a:lnTo>
                <a:lnTo>
                  <a:pt x="573569" y="2137495"/>
                </a:lnTo>
                <a:lnTo>
                  <a:pt x="0" y="95402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7" name="Forme libre : forme 66">
            <a:extLst>
              <a:ext uri="{FF2B5EF4-FFF2-40B4-BE49-F238E27FC236}">
                <a16:creationId xmlns:a16="http://schemas.microsoft.com/office/drawing/2014/main" id="{8B087CB9-0F03-4012-A1D9-1BBFEAF32946}"/>
              </a:ext>
            </a:extLst>
          </p:cNvPr>
          <p:cNvSpPr/>
          <p:nvPr userDrawn="1"/>
        </p:nvSpPr>
        <p:spPr>
          <a:xfrm>
            <a:off x="0" y="2316549"/>
            <a:ext cx="542029" cy="2230086"/>
          </a:xfrm>
          <a:custGeom>
            <a:avLst/>
            <a:gdLst>
              <a:gd name="connsiteX0" fmla="*/ 0 w 542029"/>
              <a:gd name="connsiteY0" fmla="*/ 0 h 2230086"/>
              <a:gd name="connsiteX1" fmla="*/ 542029 w 542029"/>
              <a:gd name="connsiteY1" fmla="*/ 1117995 h 2230086"/>
              <a:gd name="connsiteX2" fmla="*/ 0 w 542029"/>
              <a:gd name="connsiteY2" fmla="*/ 2230086 h 2230086"/>
              <a:gd name="connsiteX3" fmla="*/ 0 w 542029"/>
              <a:gd name="connsiteY3" fmla="*/ 1281433 h 2230086"/>
              <a:gd name="connsiteX4" fmla="*/ 1 w 542029"/>
              <a:gd name="connsiteY4" fmla="*/ 1281431 h 2230086"/>
              <a:gd name="connsiteX5" fmla="*/ 1 w 542029"/>
              <a:gd name="connsiteY5" fmla="*/ 953633 h 2230086"/>
              <a:gd name="connsiteX6" fmla="*/ 0 w 542029"/>
              <a:gd name="connsiteY6" fmla="*/ 953631 h 2230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029" h="2230086">
                <a:moveTo>
                  <a:pt x="0" y="0"/>
                </a:moveTo>
                <a:lnTo>
                  <a:pt x="542029" y="1117995"/>
                </a:lnTo>
                <a:lnTo>
                  <a:pt x="0" y="2230086"/>
                </a:lnTo>
                <a:lnTo>
                  <a:pt x="0" y="1281433"/>
                </a:lnTo>
                <a:lnTo>
                  <a:pt x="1" y="1281431"/>
                </a:lnTo>
                <a:lnTo>
                  <a:pt x="1" y="953633"/>
                </a:lnTo>
                <a:lnTo>
                  <a:pt x="0" y="95363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41" name="Group 11">
            <a:extLst>
              <a:ext uri="{FF2B5EF4-FFF2-40B4-BE49-F238E27FC236}">
                <a16:creationId xmlns:a16="http://schemas.microsoft.com/office/drawing/2014/main" id="{B0F83419-C653-4D75-AC26-71B757AD105B}"/>
              </a:ext>
            </a:extLst>
          </p:cNvPr>
          <p:cNvGrpSpPr/>
          <p:nvPr userDrawn="1"/>
        </p:nvGrpSpPr>
        <p:grpSpPr>
          <a:xfrm>
            <a:off x="8210465" y="4344970"/>
            <a:ext cx="2732617" cy="690033"/>
            <a:chOff x="447675" y="4187826"/>
            <a:chExt cx="2049463" cy="517525"/>
          </a:xfrm>
          <a:solidFill>
            <a:schemeClr val="bg1"/>
          </a:solidFill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5ADDED96-F56F-4F25-882C-A63EB0D0E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9877B271-C2C4-4E9B-B7D4-EEE4C69E4F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9E43609E-5163-4EE8-BB07-6D4296AC2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77944D6B-94B1-4CDF-8AC0-9AA4F0D6E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2B159769-2930-476D-AF7C-7FD0CB760C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/>
            </a:p>
          </p:txBody>
        </p:sp>
      </p:grp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1628C42F-07BC-4CA7-BCFA-57F61B2EA2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11396" y="1599488"/>
            <a:ext cx="3755136" cy="203197"/>
          </a:xfrm>
          <a:noFill/>
          <a:effectLst/>
        </p:spPr>
        <p:txBody>
          <a:bodyPr lIns="0" tIns="0" rIns="0" bIns="0" anchor="b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lang="en-US" sz="1467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170684" indent="0" algn="ctr">
              <a:buNone/>
              <a:defRPr lang="en-US" sz="1467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67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ONTACT</a:t>
            </a:r>
          </a:p>
        </p:txBody>
      </p: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83AD7E6E-37A2-4D5C-970E-04302E11411F}"/>
              </a:ext>
            </a:extLst>
          </p:cNvPr>
          <p:cNvGrpSpPr/>
          <p:nvPr userDrawn="1"/>
        </p:nvGrpSpPr>
        <p:grpSpPr>
          <a:xfrm>
            <a:off x="7711396" y="5587483"/>
            <a:ext cx="3755136" cy="709858"/>
            <a:chOff x="7711396" y="5587483"/>
            <a:chExt cx="3755136" cy="709858"/>
          </a:xfrm>
        </p:grpSpPr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D6632D7A-2DD6-4867-A74E-6E1321085F3F}"/>
                </a:ext>
              </a:extLst>
            </p:cNvPr>
            <p:cNvSpPr/>
            <p:nvPr/>
          </p:nvSpPr>
          <p:spPr>
            <a:xfrm>
              <a:off x="8956248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67 w 289676"/>
                <a:gd name="connsiteY5" fmla="*/ 144838 h 289675"/>
                <a:gd name="connsiteX6" fmla="*/ 144838 w 289676"/>
                <a:gd name="connsiteY6" fmla="*/ 13167 h 289675"/>
                <a:gd name="connsiteX7" fmla="*/ 276509 w 289676"/>
                <a:gd name="connsiteY7" fmla="*/ 144838 h 289675"/>
                <a:gd name="connsiteX8" fmla="*/ 144838 w 289676"/>
                <a:gd name="connsiteY8" fmla="*/ 276508 h 289675"/>
                <a:gd name="connsiteX9" fmla="*/ 13167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7"/>
                    <a:pt x="224828" y="0"/>
                    <a:pt x="144838" y="0"/>
                  </a:cubicBezTo>
                  <a:cubicBezTo>
                    <a:pt x="64848" y="0"/>
                    <a:pt x="0" y="64847"/>
                    <a:pt x="0" y="144838"/>
                  </a:cubicBezTo>
                  <a:cubicBezTo>
                    <a:pt x="0" y="224827"/>
                    <a:pt x="64848" y="289675"/>
                    <a:pt x="144838" y="289675"/>
                  </a:cubicBezTo>
                  <a:cubicBezTo>
                    <a:pt x="224828" y="289675"/>
                    <a:pt x="289676" y="224827"/>
                    <a:pt x="289676" y="144838"/>
                  </a:cubicBezTo>
                  <a:close/>
                  <a:moveTo>
                    <a:pt x="13167" y="144838"/>
                  </a:moveTo>
                  <a:cubicBezTo>
                    <a:pt x="13167" y="72116"/>
                    <a:pt x="72116" y="13167"/>
                    <a:pt x="144838" y="13167"/>
                  </a:cubicBezTo>
                  <a:cubicBezTo>
                    <a:pt x="217560" y="13167"/>
                    <a:pt x="276509" y="72116"/>
                    <a:pt x="276509" y="144838"/>
                  </a:cubicBezTo>
                  <a:cubicBezTo>
                    <a:pt x="276509" y="217559"/>
                    <a:pt x="217560" y="276508"/>
                    <a:pt x="144838" y="276508"/>
                  </a:cubicBezTo>
                  <a:cubicBezTo>
                    <a:pt x="72116" y="276508"/>
                    <a:pt x="13167" y="217559"/>
                    <a:pt x="13167" y="144838"/>
                  </a:cubicBezTo>
                  <a:close/>
                </a:path>
              </a:pathLst>
            </a:custGeom>
            <a:solidFill>
              <a:schemeClr val="bg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8" name="ZoneTexte 57">
              <a:hlinkClick r:id="rId2"/>
              <a:extLst>
                <a:ext uri="{FF2B5EF4-FFF2-40B4-BE49-F238E27FC236}">
                  <a16:creationId xmlns:a16="http://schemas.microsoft.com/office/drawing/2014/main" id="{37FBBD45-21FE-4131-9D10-1D955557A509}"/>
                </a:ext>
              </a:extLst>
            </p:cNvPr>
            <p:cNvSpPr txBox="1"/>
            <p:nvPr userDrawn="1"/>
          </p:nvSpPr>
          <p:spPr>
            <a:xfrm>
              <a:off x="7711396" y="6061892"/>
              <a:ext cx="3755136" cy="235449"/>
            </a:xfrm>
            <a:prstGeom prst="rect">
              <a:avLst/>
            </a:prstGeom>
            <a:noFill/>
            <a:effectLst/>
          </p:spPr>
          <p:txBody>
            <a:bodyPr vert="horz" wrap="square" lIns="0" tIns="0" rIns="0" bIns="0" rtlCol="0" anchor="ctr" anchorCtr="0">
              <a:spAutoFit/>
            </a:bodyPr>
            <a:lstStyle>
              <a:lvl1pPr lvl="0" indent="0" algn="ctr" defTabSz="914377">
                <a:lnSpc>
                  <a:spcPct val="90000"/>
                </a:lnSpc>
                <a:spcBef>
                  <a:spcPts val="1600"/>
                </a:spcBef>
                <a:buFont typeface="Arial" panose="020B0604020202020204" pitchFamily="34" charset="0"/>
                <a:buNone/>
                <a:defRPr sz="1700" b="1" baseline="0">
                  <a:solidFill>
                    <a:schemeClr val="bg1"/>
                  </a:solidFill>
                </a:defRPr>
              </a:lvl1pPr>
              <a:lvl2pPr marL="170684" indent="0" algn="ctr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None/>
                <a:defRPr sz="1333">
                  <a:solidFill>
                    <a:schemeClr val="bg1"/>
                  </a:solidFill>
                </a:defRPr>
              </a:lvl2pPr>
              <a:lvl3pPr marL="621776" indent="-292601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Char char="→"/>
                <a:defRPr sz="1600">
                  <a:solidFill>
                    <a:schemeClr val="accent1"/>
                  </a:solidFill>
                </a:defRPr>
              </a:lvl3pPr>
              <a:lvl4pPr marL="768077" indent="-146300" defTabSz="914377">
                <a:lnSpc>
                  <a:spcPct val="90000"/>
                </a:lnSpc>
                <a:spcBef>
                  <a:spcPts val="533"/>
                </a:spcBef>
                <a:buFontTx/>
                <a:buBlip>
                  <a:blip r:embed="rId3"/>
                </a:buBlip>
                <a:defRPr sz="1333"/>
              </a:lvl4pPr>
              <a:lvl5pPr marL="914377" indent="-109725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Char char="•"/>
                <a:defRPr sz="1333">
                  <a:solidFill>
                    <a:schemeClr val="bg2"/>
                  </a:solidFill>
                </a:defRPr>
              </a:lvl5pPr>
              <a:lvl6pPr marL="2514537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6pPr>
              <a:lvl7pPr marL="2971726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7pPr>
              <a:lvl8pPr marL="3428914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8pPr>
              <a:lvl9pPr marL="3886103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9pPr>
            </a:lstStyle>
            <a:p>
              <a:pPr lvl="0"/>
              <a:r>
                <a:rPr lang="en-US" noProof="0" dirty="0">
                  <a:solidFill>
                    <a:schemeClr val="bg1"/>
                  </a:solidFill>
                </a:rPr>
                <a:t>www.Idemia.com</a:t>
              </a:r>
            </a:p>
          </p:txBody>
        </p:sp>
        <p:cxnSp>
          <p:nvCxnSpPr>
            <p:cNvPr id="59" name="Connecteur droit 58">
              <a:extLst>
                <a:ext uri="{FF2B5EF4-FFF2-40B4-BE49-F238E27FC236}">
                  <a16:creationId xmlns:a16="http://schemas.microsoft.com/office/drawing/2014/main" id="{ED4303E3-8021-498C-86BC-2AA1909474F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168955" y="5975873"/>
              <a:ext cx="2840018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ZoneTexte 59">
              <a:extLst>
                <a:ext uri="{FF2B5EF4-FFF2-40B4-BE49-F238E27FC236}">
                  <a16:creationId xmlns:a16="http://schemas.microsoft.com/office/drawing/2014/main" id="{526979CD-FF85-496F-B114-9CFE785BB09C}"/>
                </a:ext>
              </a:extLst>
            </p:cNvPr>
            <p:cNvSpPr txBox="1"/>
            <p:nvPr userDrawn="1"/>
          </p:nvSpPr>
          <p:spPr>
            <a:xfrm>
              <a:off x="8173974" y="5687356"/>
              <a:ext cx="744115" cy="145424"/>
            </a:xfrm>
            <a:prstGeom prst="rect">
              <a:avLst/>
            </a:prstGeom>
            <a:noFill/>
            <a:effectLst/>
          </p:spPr>
          <p:txBody>
            <a:bodyPr vert="horz" wrap="square" lIns="0" tIns="0" rIns="0" bIns="0" rtlCol="0" anchor="ctr" anchorCtr="0">
              <a:spAutoFit/>
            </a:bodyPr>
            <a:lstStyle>
              <a:lvl1pPr lvl="0" indent="0" algn="ctr" defTabSz="914377">
                <a:lnSpc>
                  <a:spcPct val="90000"/>
                </a:lnSpc>
                <a:spcBef>
                  <a:spcPts val="1600"/>
                </a:spcBef>
                <a:buFont typeface="Arial" panose="020B0604020202020204" pitchFamily="34" charset="0"/>
                <a:buNone/>
                <a:defRPr sz="1700" b="1" baseline="0">
                  <a:solidFill>
                    <a:schemeClr val="bg1"/>
                  </a:solidFill>
                </a:defRPr>
              </a:lvl1pPr>
              <a:lvl2pPr marL="170684" indent="0" algn="ctr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None/>
                <a:defRPr sz="1333">
                  <a:solidFill>
                    <a:schemeClr val="bg1"/>
                  </a:solidFill>
                </a:defRPr>
              </a:lvl2pPr>
              <a:lvl3pPr marL="621776" indent="-292601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Char char="→"/>
                <a:defRPr sz="1600">
                  <a:solidFill>
                    <a:schemeClr val="accent1"/>
                  </a:solidFill>
                </a:defRPr>
              </a:lvl3pPr>
              <a:lvl4pPr marL="768077" indent="-146300" defTabSz="914377">
                <a:lnSpc>
                  <a:spcPct val="90000"/>
                </a:lnSpc>
                <a:spcBef>
                  <a:spcPts val="533"/>
                </a:spcBef>
                <a:buFontTx/>
                <a:buBlip>
                  <a:blip r:embed="rId3"/>
                </a:buBlip>
                <a:defRPr sz="1333"/>
              </a:lvl4pPr>
              <a:lvl5pPr marL="914377" indent="-109725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Char char="•"/>
                <a:defRPr sz="1333">
                  <a:solidFill>
                    <a:schemeClr val="bg2"/>
                  </a:solidFill>
                </a:defRPr>
              </a:lvl5pPr>
              <a:lvl6pPr marL="2514537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6pPr>
              <a:lvl7pPr marL="2971726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7pPr>
              <a:lvl8pPr marL="3428914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8pPr>
              <a:lvl9pPr marL="3886103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9pPr>
            </a:lstStyle>
            <a:p>
              <a:pPr lvl="0" algn="l"/>
              <a:r>
                <a:rPr lang="en-US" sz="1050" b="0" spc="43" noProof="0" dirty="0">
                  <a:solidFill>
                    <a:schemeClr val="bg1"/>
                  </a:solidFill>
                </a:rPr>
                <a:t>Join us on</a:t>
              </a:r>
            </a:p>
          </p:txBody>
        </p:sp>
        <p:grpSp>
          <p:nvGrpSpPr>
            <p:cNvPr id="61" name="Graphique 109">
              <a:extLst>
                <a:ext uri="{FF2B5EF4-FFF2-40B4-BE49-F238E27FC236}">
                  <a16:creationId xmlns:a16="http://schemas.microsoft.com/office/drawing/2014/main" id="{2DDED78A-B7D2-4191-A3BA-76D61E31E8A3}"/>
                </a:ext>
              </a:extLst>
            </p:cNvPr>
            <p:cNvGrpSpPr/>
            <p:nvPr/>
          </p:nvGrpSpPr>
          <p:grpSpPr>
            <a:xfrm>
              <a:off x="10791668" y="5661826"/>
              <a:ext cx="145879" cy="145878"/>
              <a:chOff x="10791668" y="5661826"/>
              <a:chExt cx="145879" cy="145878"/>
            </a:xfrm>
            <a:solidFill>
              <a:schemeClr val="accent1"/>
            </a:solidFill>
          </p:grpSpPr>
          <p:sp>
            <p:nvSpPr>
              <p:cNvPr id="83" name="Forme libre : forme 82">
                <a:extLst>
                  <a:ext uri="{FF2B5EF4-FFF2-40B4-BE49-F238E27FC236}">
                    <a16:creationId xmlns:a16="http://schemas.microsoft.com/office/drawing/2014/main" id="{F1FA7D95-9867-4F1B-8AD8-1EC29663413C}"/>
                  </a:ext>
                </a:extLst>
              </p:cNvPr>
              <p:cNvSpPr/>
              <p:nvPr/>
            </p:nvSpPr>
            <p:spPr>
              <a:xfrm>
                <a:off x="10791668" y="5661826"/>
                <a:ext cx="145879" cy="145878"/>
              </a:xfrm>
              <a:custGeom>
                <a:avLst/>
                <a:gdLst>
                  <a:gd name="connsiteX0" fmla="*/ 72940 w 145879"/>
                  <a:gd name="connsiteY0" fmla="*/ 13111 h 145878"/>
                  <a:gd name="connsiteX1" fmla="*/ 102381 w 145879"/>
                  <a:gd name="connsiteY1" fmla="*/ 13537 h 145878"/>
                  <a:gd name="connsiteX2" fmla="*/ 115918 w 145879"/>
                  <a:gd name="connsiteY2" fmla="*/ 16046 h 145878"/>
                  <a:gd name="connsiteX3" fmla="*/ 124296 w 145879"/>
                  <a:gd name="connsiteY3" fmla="*/ 21489 h 145878"/>
                  <a:gd name="connsiteX4" fmla="*/ 129739 w 145879"/>
                  <a:gd name="connsiteY4" fmla="*/ 29867 h 145878"/>
                  <a:gd name="connsiteX5" fmla="*/ 132248 w 145879"/>
                  <a:gd name="connsiteY5" fmla="*/ 43404 h 145878"/>
                  <a:gd name="connsiteX6" fmla="*/ 132674 w 145879"/>
                  <a:gd name="connsiteY6" fmla="*/ 72845 h 145878"/>
                  <a:gd name="connsiteX7" fmla="*/ 132248 w 145879"/>
                  <a:gd name="connsiteY7" fmla="*/ 102286 h 145878"/>
                  <a:gd name="connsiteX8" fmla="*/ 129739 w 145879"/>
                  <a:gd name="connsiteY8" fmla="*/ 115823 h 145878"/>
                  <a:gd name="connsiteX9" fmla="*/ 124296 w 145879"/>
                  <a:gd name="connsiteY9" fmla="*/ 124201 h 145878"/>
                  <a:gd name="connsiteX10" fmla="*/ 115918 w 145879"/>
                  <a:gd name="connsiteY10" fmla="*/ 129644 h 145878"/>
                  <a:gd name="connsiteX11" fmla="*/ 102381 w 145879"/>
                  <a:gd name="connsiteY11" fmla="*/ 132152 h 145878"/>
                  <a:gd name="connsiteX12" fmla="*/ 72940 w 145879"/>
                  <a:gd name="connsiteY12" fmla="*/ 132578 h 145878"/>
                  <a:gd name="connsiteX13" fmla="*/ 43499 w 145879"/>
                  <a:gd name="connsiteY13" fmla="*/ 132152 h 145878"/>
                  <a:gd name="connsiteX14" fmla="*/ 29962 w 145879"/>
                  <a:gd name="connsiteY14" fmla="*/ 129644 h 145878"/>
                  <a:gd name="connsiteX15" fmla="*/ 21584 w 145879"/>
                  <a:gd name="connsiteY15" fmla="*/ 124201 h 145878"/>
                  <a:gd name="connsiteX16" fmla="*/ 16140 w 145879"/>
                  <a:gd name="connsiteY16" fmla="*/ 115823 h 145878"/>
                  <a:gd name="connsiteX17" fmla="*/ 13632 w 145879"/>
                  <a:gd name="connsiteY17" fmla="*/ 102286 h 145878"/>
                  <a:gd name="connsiteX18" fmla="*/ 13206 w 145879"/>
                  <a:gd name="connsiteY18" fmla="*/ 72845 h 145878"/>
                  <a:gd name="connsiteX19" fmla="*/ 13632 w 145879"/>
                  <a:gd name="connsiteY19" fmla="*/ 43404 h 145878"/>
                  <a:gd name="connsiteX20" fmla="*/ 16140 w 145879"/>
                  <a:gd name="connsiteY20" fmla="*/ 29867 h 145878"/>
                  <a:gd name="connsiteX21" fmla="*/ 21584 w 145879"/>
                  <a:gd name="connsiteY21" fmla="*/ 21489 h 145878"/>
                  <a:gd name="connsiteX22" fmla="*/ 29962 w 145879"/>
                  <a:gd name="connsiteY22" fmla="*/ 16046 h 145878"/>
                  <a:gd name="connsiteX23" fmla="*/ 43499 w 145879"/>
                  <a:gd name="connsiteY23" fmla="*/ 13537 h 145878"/>
                  <a:gd name="connsiteX24" fmla="*/ 72940 w 145879"/>
                  <a:gd name="connsiteY24" fmla="*/ 13111 h 145878"/>
                  <a:gd name="connsiteX25" fmla="*/ 72940 w 145879"/>
                  <a:gd name="connsiteY25" fmla="*/ 0 h 145878"/>
                  <a:gd name="connsiteX26" fmla="*/ 42883 w 145879"/>
                  <a:gd name="connsiteY26" fmla="*/ 426 h 145878"/>
                  <a:gd name="connsiteX27" fmla="*/ 25181 w 145879"/>
                  <a:gd name="connsiteY27" fmla="*/ 3834 h 145878"/>
                  <a:gd name="connsiteX28" fmla="*/ 12259 w 145879"/>
                  <a:gd name="connsiteY28" fmla="*/ 12259 h 145878"/>
                  <a:gd name="connsiteX29" fmla="*/ 3834 w 145879"/>
                  <a:gd name="connsiteY29" fmla="*/ 25181 h 145878"/>
                  <a:gd name="connsiteX30" fmla="*/ 426 w 145879"/>
                  <a:gd name="connsiteY30" fmla="*/ 42883 h 145878"/>
                  <a:gd name="connsiteX31" fmla="*/ 0 w 145879"/>
                  <a:gd name="connsiteY31" fmla="*/ 72939 h 145878"/>
                  <a:gd name="connsiteX32" fmla="*/ 426 w 145879"/>
                  <a:gd name="connsiteY32" fmla="*/ 102996 h 145878"/>
                  <a:gd name="connsiteX33" fmla="*/ 3834 w 145879"/>
                  <a:gd name="connsiteY33" fmla="*/ 120698 h 145878"/>
                  <a:gd name="connsiteX34" fmla="*/ 12259 w 145879"/>
                  <a:gd name="connsiteY34" fmla="*/ 133620 h 145878"/>
                  <a:gd name="connsiteX35" fmla="*/ 25181 w 145879"/>
                  <a:gd name="connsiteY35" fmla="*/ 142045 h 145878"/>
                  <a:gd name="connsiteX36" fmla="*/ 42883 w 145879"/>
                  <a:gd name="connsiteY36" fmla="*/ 145453 h 145878"/>
                  <a:gd name="connsiteX37" fmla="*/ 72940 w 145879"/>
                  <a:gd name="connsiteY37" fmla="*/ 145879 h 145878"/>
                  <a:gd name="connsiteX38" fmla="*/ 102996 w 145879"/>
                  <a:gd name="connsiteY38" fmla="*/ 145453 h 145878"/>
                  <a:gd name="connsiteX39" fmla="*/ 120698 w 145879"/>
                  <a:gd name="connsiteY39" fmla="*/ 142045 h 145878"/>
                  <a:gd name="connsiteX40" fmla="*/ 133620 w 145879"/>
                  <a:gd name="connsiteY40" fmla="*/ 133620 h 145878"/>
                  <a:gd name="connsiteX41" fmla="*/ 142045 w 145879"/>
                  <a:gd name="connsiteY41" fmla="*/ 120698 h 145878"/>
                  <a:gd name="connsiteX42" fmla="*/ 145453 w 145879"/>
                  <a:gd name="connsiteY42" fmla="*/ 102996 h 145878"/>
                  <a:gd name="connsiteX43" fmla="*/ 145879 w 145879"/>
                  <a:gd name="connsiteY43" fmla="*/ 72939 h 145878"/>
                  <a:gd name="connsiteX44" fmla="*/ 145453 w 145879"/>
                  <a:gd name="connsiteY44" fmla="*/ 42883 h 145878"/>
                  <a:gd name="connsiteX45" fmla="*/ 142045 w 145879"/>
                  <a:gd name="connsiteY45" fmla="*/ 25181 h 145878"/>
                  <a:gd name="connsiteX46" fmla="*/ 133620 w 145879"/>
                  <a:gd name="connsiteY46" fmla="*/ 12259 h 145878"/>
                  <a:gd name="connsiteX47" fmla="*/ 120698 w 145879"/>
                  <a:gd name="connsiteY47" fmla="*/ 3834 h 145878"/>
                  <a:gd name="connsiteX48" fmla="*/ 102996 w 145879"/>
                  <a:gd name="connsiteY48" fmla="*/ 426 h 145878"/>
                  <a:gd name="connsiteX49" fmla="*/ 72940 w 145879"/>
                  <a:gd name="connsiteY49" fmla="*/ 0 h 145878"/>
                  <a:gd name="connsiteX50" fmla="*/ 72940 w 145879"/>
                  <a:gd name="connsiteY50" fmla="*/ 0 h 145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45879" h="145878">
                    <a:moveTo>
                      <a:pt x="72940" y="13111"/>
                    </a:moveTo>
                    <a:cubicBezTo>
                      <a:pt x="92393" y="13111"/>
                      <a:pt x="94713" y="13206"/>
                      <a:pt x="102381" y="13537"/>
                    </a:cubicBezTo>
                    <a:cubicBezTo>
                      <a:pt x="109481" y="13868"/>
                      <a:pt x="113362" y="15052"/>
                      <a:pt x="115918" y="16046"/>
                    </a:cubicBezTo>
                    <a:cubicBezTo>
                      <a:pt x="119326" y="17371"/>
                      <a:pt x="121740" y="18933"/>
                      <a:pt x="124296" y="21489"/>
                    </a:cubicBezTo>
                    <a:cubicBezTo>
                      <a:pt x="126852" y="24045"/>
                      <a:pt x="128414" y="26459"/>
                      <a:pt x="129739" y="29867"/>
                    </a:cubicBezTo>
                    <a:cubicBezTo>
                      <a:pt x="130733" y="32423"/>
                      <a:pt x="131916" y="36304"/>
                      <a:pt x="132248" y="43404"/>
                    </a:cubicBezTo>
                    <a:cubicBezTo>
                      <a:pt x="132579" y="51072"/>
                      <a:pt x="132674" y="53391"/>
                      <a:pt x="132674" y="72845"/>
                    </a:cubicBezTo>
                    <a:cubicBezTo>
                      <a:pt x="132674" y="92298"/>
                      <a:pt x="132579" y="94618"/>
                      <a:pt x="132248" y="102286"/>
                    </a:cubicBezTo>
                    <a:cubicBezTo>
                      <a:pt x="131916" y="109385"/>
                      <a:pt x="130733" y="113267"/>
                      <a:pt x="129739" y="115823"/>
                    </a:cubicBezTo>
                    <a:cubicBezTo>
                      <a:pt x="128414" y="119231"/>
                      <a:pt x="126852" y="121645"/>
                      <a:pt x="124296" y="124201"/>
                    </a:cubicBezTo>
                    <a:cubicBezTo>
                      <a:pt x="121740" y="126756"/>
                      <a:pt x="119326" y="128318"/>
                      <a:pt x="115918" y="129644"/>
                    </a:cubicBezTo>
                    <a:cubicBezTo>
                      <a:pt x="113362" y="130638"/>
                      <a:pt x="109481" y="131821"/>
                      <a:pt x="102381" y="132152"/>
                    </a:cubicBezTo>
                    <a:cubicBezTo>
                      <a:pt x="94713" y="132484"/>
                      <a:pt x="92393" y="132578"/>
                      <a:pt x="72940" y="132578"/>
                    </a:cubicBezTo>
                    <a:cubicBezTo>
                      <a:pt x="53486" y="132578"/>
                      <a:pt x="51167" y="132484"/>
                      <a:pt x="43499" y="132152"/>
                    </a:cubicBezTo>
                    <a:cubicBezTo>
                      <a:pt x="36399" y="131821"/>
                      <a:pt x="32518" y="130638"/>
                      <a:pt x="29962" y="129644"/>
                    </a:cubicBezTo>
                    <a:cubicBezTo>
                      <a:pt x="26554" y="128318"/>
                      <a:pt x="24140" y="126756"/>
                      <a:pt x="21584" y="124201"/>
                    </a:cubicBezTo>
                    <a:cubicBezTo>
                      <a:pt x="19028" y="121645"/>
                      <a:pt x="17466" y="119231"/>
                      <a:pt x="16140" y="115823"/>
                    </a:cubicBezTo>
                    <a:cubicBezTo>
                      <a:pt x="15146" y="113267"/>
                      <a:pt x="13963" y="109385"/>
                      <a:pt x="13632" y="102286"/>
                    </a:cubicBezTo>
                    <a:cubicBezTo>
                      <a:pt x="13300" y="94618"/>
                      <a:pt x="13206" y="92298"/>
                      <a:pt x="13206" y="72845"/>
                    </a:cubicBezTo>
                    <a:cubicBezTo>
                      <a:pt x="13206" y="53391"/>
                      <a:pt x="13300" y="51072"/>
                      <a:pt x="13632" y="43404"/>
                    </a:cubicBezTo>
                    <a:cubicBezTo>
                      <a:pt x="13963" y="36304"/>
                      <a:pt x="15146" y="32423"/>
                      <a:pt x="16140" y="29867"/>
                    </a:cubicBezTo>
                    <a:cubicBezTo>
                      <a:pt x="17466" y="26459"/>
                      <a:pt x="19028" y="24045"/>
                      <a:pt x="21584" y="21489"/>
                    </a:cubicBezTo>
                    <a:cubicBezTo>
                      <a:pt x="24140" y="18933"/>
                      <a:pt x="26554" y="17371"/>
                      <a:pt x="29962" y="16046"/>
                    </a:cubicBezTo>
                    <a:cubicBezTo>
                      <a:pt x="32518" y="15052"/>
                      <a:pt x="36399" y="13868"/>
                      <a:pt x="43499" y="13537"/>
                    </a:cubicBezTo>
                    <a:cubicBezTo>
                      <a:pt x="51167" y="13206"/>
                      <a:pt x="53486" y="13111"/>
                      <a:pt x="72940" y="13111"/>
                    </a:cubicBezTo>
                    <a:moveTo>
                      <a:pt x="72940" y="0"/>
                    </a:moveTo>
                    <a:cubicBezTo>
                      <a:pt x="53155" y="0"/>
                      <a:pt x="50646" y="95"/>
                      <a:pt x="42883" y="426"/>
                    </a:cubicBezTo>
                    <a:cubicBezTo>
                      <a:pt x="35121" y="757"/>
                      <a:pt x="29820" y="2035"/>
                      <a:pt x="25181" y="3834"/>
                    </a:cubicBezTo>
                    <a:cubicBezTo>
                      <a:pt x="20400" y="5680"/>
                      <a:pt x="16330" y="8189"/>
                      <a:pt x="12259" y="12259"/>
                    </a:cubicBezTo>
                    <a:cubicBezTo>
                      <a:pt x="8189" y="16330"/>
                      <a:pt x="5727" y="20353"/>
                      <a:pt x="3834" y="25181"/>
                    </a:cubicBezTo>
                    <a:cubicBezTo>
                      <a:pt x="2035" y="29819"/>
                      <a:pt x="805" y="35121"/>
                      <a:pt x="426" y="42883"/>
                    </a:cubicBezTo>
                    <a:cubicBezTo>
                      <a:pt x="95" y="50646"/>
                      <a:pt x="0" y="53154"/>
                      <a:pt x="0" y="72939"/>
                    </a:cubicBezTo>
                    <a:cubicBezTo>
                      <a:pt x="0" y="92724"/>
                      <a:pt x="95" y="95233"/>
                      <a:pt x="426" y="102996"/>
                    </a:cubicBezTo>
                    <a:cubicBezTo>
                      <a:pt x="757" y="110758"/>
                      <a:pt x="2035" y="116059"/>
                      <a:pt x="3834" y="120698"/>
                    </a:cubicBezTo>
                    <a:cubicBezTo>
                      <a:pt x="5680" y="125479"/>
                      <a:pt x="8189" y="129549"/>
                      <a:pt x="12259" y="133620"/>
                    </a:cubicBezTo>
                    <a:cubicBezTo>
                      <a:pt x="16330" y="137690"/>
                      <a:pt x="20353" y="140152"/>
                      <a:pt x="25181" y="142045"/>
                    </a:cubicBezTo>
                    <a:cubicBezTo>
                      <a:pt x="29820" y="143844"/>
                      <a:pt x="35121" y="145074"/>
                      <a:pt x="42883" y="145453"/>
                    </a:cubicBezTo>
                    <a:cubicBezTo>
                      <a:pt x="50646" y="145784"/>
                      <a:pt x="53155" y="145879"/>
                      <a:pt x="72940" y="145879"/>
                    </a:cubicBezTo>
                    <a:cubicBezTo>
                      <a:pt x="92725" y="145879"/>
                      <a:pt x="95233" y="145784"/>
                      <a:pt x="102996" y="145453"/>
                    </a:cubicBezTo>
                    <a:cubicBezTo>
                      <a:pt x="110758" y="145122"/>
                      <a:pt x="116060" y="143844"/>
                      <a:pt x="120698" y="142045"/>
                    </a:cubicBezTo>
                    <a:cubicBezTo>
                      <a:pt x="125479" y="140199"/>
                      <a:pt x="129550" y="137690"/>
                      <a:pt x="133620" y="133620"/>
                    </a:cubicBezTo>
                    <a:cubicBezTo>
                      <a:pt x="137691" y="129549"/>
                      <a:pt x="140152" y="125526"/>
                      <a:pt x="142045" y="120698"/>
                    </a:cubicBezTo>
                    <a:cubicBezTo>
                      <a:pt x="143844" y="116059"/>
                      <a:pt x="145075" y="110758"/>
                      <a:pt x="145453" y="102996"/>
                    </a:cubicBezTo>
                    <a:cubicBezTo>
                      <a:pt x="145785" y="95233"/>
                      <a:pt x="145879" y="92724"/>
                      <a:pt x="145879" y="72939"/>
                    </a:cubicBezTo>
                    <a:cubicBezTo>
                      <a:pt x="145879" y="53154"/>
                      <a:pt x="145785" y="50646"/>
                      <a:pt x="145453" y="42883"/>
                    </a:cubicBezTo>
                    <a:cubicBezTo>
                      <a:pt x="145122" y="35121"/>
                      <a:pt x="143844" y="29819"/>
                      <a:pt x="142045" y="25181"/>
                    </a:cubicBezTo>
                    <a:cubicBezTo>
                      <a:pt x="140199" y="20400"/>
                      <a:pt x="137691" y="16330"/>
                      <a:pt x="133620" y="12259"/>
                    </a:cubicBezTo>
                    <a:cubicBezTo>
                      <a:pt x="129550" y="8189"/>
                      <a:pt x="125526" y="5727"/>
                      <a:pt x="120698" y="3834"/>
                    </a:cubicBezTo>
                    <a:cubicBezTo>
                      <a:pt x="116060" y="2035"/>
                      <a:pt x="110758" y="805"/>
                      <a:pt x="102996" y="426"/>
                    </a:cubicBezTo>
                    <a:cubicBezTo>
                      <a:pt x="95233" y="95"/>
                      <a:pt x="92725" y="0"/>
                      <a:pt x="72940" y="0"/>
                    </a:cubicBezTo>
                    <a:lnTo>
                      <a:pt x="72940" y="0"/>
                    </a:lnTo>
                    <a:close/>
                  </a:path>
                </a:pathLst>
              </a:custGeom>
              <a:solidFill>
                <a:schemeClr val="bg1"/>
              </a:solidFill>
              <a:ln w="4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85" name="Forme libre : forme 84">
                <a:extLst>
                  <a:ext uri="{FF2B5EF4-FFF2-40B4-BE49-F238E27FC236}">
                    <a16:creationId xmlns:a16="http://schemas.microsoft.com/office/drawing/2014/main" id="{16782A0A-BA17-4E5A-81BB-FDB09E00DDCA}"/>
                  </a:ext>
                </a:extLst>
              </p:cNvPr>
              <p:cNvSpPr/>
              <p:nvPr/>
            </p:nvSpPr>
            <p:spPr>
              <a:xfrm>
                <a:off x="10827168" y="5697278"/>
                <a:ext cx="74880" cy="74880"/>
              </a:xfrm>
              <a:custGeom>
                <a:avLst/>
                <a:gdLst>
                  <a:gd name="connsiteX0" fmla="*/ 37440 w 74880"/>
                  <a:gd name="connsiteY0" fmla="*/ 0 h 74880"/>
                  <a:gd name="connsiteX1" fmla="*/ 0 w 74880"/>
                  <a:gd name="connsiteY1" fmla="*/ 37440 h 74880"/>
                  <a:gd name="connsiteX2" fmla="*/ 37440 w 74880"/>
                  <a:gd name="connsiteY2" fmla="*/ 74880 h 74880"/>
                  <a:gd name="connsiteX3" fmla="*/ 74880 w 74880"/>
                  <a:gd name="connsiteY3" fmla="*/ 37440 h 74880"/>
                  <a:gd name="connsiteX4" fmla="*/ 37440 w 74880"/>
                  <a:gd name="connsiteY4" fmla="*/ 0 h 74880"/>
                  <a:gd name="connsiteX5" fmla="*/ 37440 w 74880"/>
                  <a:gd name="connsiteY5" fmla="*/ 61722 h 74880"/>
                  <a:gd name="connsiteX6" fmla="*/ 13158 w 74880"/>
                  <a:gd name="connsiteY6" fmla="*/ 37440 h 74880"/>
                  <a:gd name="connsiteX7" fmla="*/ 37440 w 74880"/>
                  <a:gd name="connsiteY7" fmla="*/ 13158 h 74880"/>
                  <a:gd name="connsiteX8" fmla="*/ 61722 w 74880"/>
                  <a:gd name="connsiteY8" fmla="*/ 37440 h 74880"/>
                  <a:gd name="connsiteX9" fmla="*/ 37440 w 74880"/>
                  <a:gd name="connsiteY9" fmla="*/ 61722 h 74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4880" h="74880">
                    <a:moveTo>
                      <a:pt x="37440" y="0"/>
                    </a:moveTo>
                    <a:cubicBezTo>
                      <a:pt x="16756" y="0"/>
                      <a:pt x="0" y="16756"/>
                      <a:pt x="0" y="37440"/>
                    </a:cubicBezTo>
                    <a:cubicBezTo>
                      <a:pt x="0" y="58124"/>
                      <a:pt x="16756" y="74880"/>
                      <a:pt x="37440" y="74880"/>
                    </a:cubicBezTo>
                    <a:cubicBezTo>
                      <a:pt x="58125" y="74880"/>
                      <a:pt x="74880" y="58124"/>
                      <a:pt x="74880" y="37440"/>
                    </a:cubicBezTo>
                    <a:cubicBezTo>
                      <a:pt x="74880" y="16756"/>
                      <a:pt x="58125" y="0"/>
                      <a:pt x="37440" y="0"/>
                    </a:cubicBezTo>
                    <a:close/>
                    <a:moveTo>
                      <a:pt x="37440" y="61722"/>
                    </a:moveTo>
                    <a:cubicBezTo>
                      <a:pt x="23998" y="61722"/>
                      <a:pt x="13158" y="50835"/>
                      <a:pt x="13158" y="37440"/>
                    </a:cubicBezTo>
                    <a:cubicBezTo>
                      <a:pt x="13158" y="23998"/>
                      <a:pt x="24045" y="13158"/>
                      <a:pt x="37440" y="13158"/>
                    </a:cubicBezTo>
                    <a:cubicBezTo>
                      <a:pt x="50883" y="13158"/>
                      <a:pt x="61722" y="24045"/>
                      <a:pt x="61722" y="37440"/>
                    </a:cubicBezTo>
                    <a:cubicBezTo>
                      <a:pt x="61722" y="50882"/>
                      <a:pt x="50883" y="61722"/>
                      <a:pt x="37440" y="61722"/>
                    </a:cubicBezTo>
                    <a:close/>
                  </a:path>
                </a:pathLst>
              </a:custGeom>
              <a:solidFill>
                <a:schemeClr val="bg1"/>
              </a:solidFill>
              <a:ln w="4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87" name="Forme libre : forme 86">
                <a:extLst>
                  <a:ext uri="{FF2B5EF4-FFF2-40B4-BE49-F238E27FC236}">
                    <a16:creationId xmlns:a16="http://schemas.microsoft.com/office/drawing/2014/main" id="{BDC14BE1-B4C8-474D-9300-83849A1080D2}"/>
                  </a:ext>
                </a:extLst>
              </p:cNvPr>
              <p:cNvSpPr/>
              <p:nvPr/>
            </p:nvSpPr>
            <p:spPr>
              <a:xfrm>
                <a:off x="10894759" y="5687054"/>
                <a:ext cx="17513" cy="17513"/>
              </a:xfrm>
              <a:custGeom>
                <a:avLst/>
                <a:gdLst>
                  <a:gd name="connsiteX0" fmla="*/ 17513 w 17513"/>
                  <a:gd name="connsiteY0" fmla="*/ 8757 h 17513"/>
                  <a:gd name="connsiteX1" fmla="*/ 8757 w 17513"/>
                  <a:gd name="connsiteY1" fmla="*/ 17513 h 17513"/>
                  <a:gd name="connsiteX2" fmla="*/ 0 w 17513"/>
                  <a:gd name="connsiteY2" fmla="*/ 8757 h 17513"/>
                  <a:gd name="connsiteX3" fmla="*/ 8757 w 17513"/>
                  <a:gd name="connsiteY3" fmla="*/ 0 h 17513"/>
                  <a:gd name="connsiteX4" fmla="*/ 17513 w 17513"/>
                  <a:gd name="connsiteY4" fmla="*/ 8757 h 17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13" h="17513">
                    <a:moveTo>
                      <a:pt x="17513" y="8757"/>
                    </a:moveTo>
                    <a:cubicBezTo>
                      <a:pt x="17513" y="13593"/>
                      <a:pt x="13593" y="17513"/>
                      <a:pt x="8757" y="17513"/>
                    </a:cubicBezTo>
                    <a:cubicBezTo>
                      <a:pt x="3920" y="17513"/>
                      <a:pt x="0" y="13593"/>
                      <a:pt x="0" y="8757"/>
                    </a:cubicBezTo>
                    <a:cubicBezTo>
                      <a:pt x="0" y="3920"/>
                      <a:pt x="3920" y="0"/>
                      <a:pt x="8757" y="0"/>
                    </a:cubicBezTo>
                    <a:cubicBezTo>
                      <a:pt x="13593" y="0"/>
                      <a:pt x="17513" y="3920"/>
                      <a:pt x="17513" y="8757"/>
                    </a:cubicBezTo>
                    <a:close/>
                  </a:path>
                </a:pathLst>
              </a:custGeom>
              <a:solidFill>
                <a:schemeClr val="bg1"/>
              </a:solidFill>
              <a:ln w="4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2" name="Forme libre : forme 61">
              <a:extLst>
                <a:ext uri="{FF2B5EF4-FFF2-40B4-BE49-F238E27FC236}">
                  <a16:creationId xmlns:a16="http://schemas.microsoft.com/office/drawing/2014/main" id="{A31989DA-1B4A-4D2E-A0E2-0A0F94467AFB}"/>
                </a:ext>
              </a:extLst>
            </p:cNvPr>
            <p:cNvSpPr/>
            <p:nvPr/>
          </p:nvSpPr>
          <p:spPr>
            <a:xfrm>
              <a:off x="9837772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58 w 289676"/>
                <a:gd name="connsiteY5" fmla="*/ 144838 h 289675"/>
                <a:gd name="connsiteX6" fmla="*/ 144838 w 289676"/>
                <a:gd name="connsiteY6" fmla="*/ 13158 h 289675"/>
                <a:gd name="connsiteX7" fmla="*/ 276518 w 289676"/>
                <a:gd name="connsiteY7" fmla="*/ 144838 h 289675"/>
                <a:gd name="connsiteX8" fmla="*/ 144838 w 289676"/>
                <a:gd name="connsiteY8" fmla="*/ 276517 h 289675"/>
                <a:gd name="connsiteX9" fmla="*/ 13158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6"/>
                    <a:pt x="224830" y="0"/>
                    <a:pt x="144838" y="0"/>
                  </a:cubicBezTo>
                  <a:cubicBezTo>
                    <a:pt x="64846" y="0"/>
                    <a:pt x="0" y="64846"/>
                    <a:pt x="0" y="144838"/>
                  </a:cubicBezTo>
                  <a:cubicBezTo>
                    <a:pt x="0" y="224829"/>
                    <a:pt x="64846" y="289675"/>
                    <a:pt x="144838" y="289675"/>
                  </a:cubicBezTo>
                  <a:cubicBezTo>
                    <a:pt x="224830" y="289675"/>
                    <a:pt x="289676" y="224829"/>
                    <a:pt x="289676" y="144838"/>
                  </a:cubicBezTo>
                  <a:close/>
                  <a:moveTo>
                    <a:pt x="13158" y="144838"/>
                  </a:moveTo>
                  <a:cubicBezTo>
                    <a:pt x="13158" y="72135"/>
                    <a:pt x="72135" y="13158"/>
                    <a:pt x="144838" y="13158"/>
                  </a:cubicBezTo>
                  <a:cubicBezTo>
                    <a:pt x="217541" y="13158"/>
                    <a:pt x="276518" y="72135"/>
                    <a:pt x="276518" y="144838"/>
                  </a:cubicBezTo>
                  <a:cubicBezTo>
                    <a:pt x="276518" y="217540"/>
                    <a:pt x="217541" y="276517"/>
                    <a:pt x="144838" y="276517"/>
                  </a:cubicBezTo>
                  <a:cubicBezTo>
                    <a:pt x="72135" y="276517"/>
                    <a:pt x="13158" y="217540"/>
                    <a:pt x="13158" y="144838"/>
                  </a:cubicBezTo>
                  <a:close/>
                </a:path>
              </a:pathLst>
            </a:custGeom>
            <a:solidFill>
              <a:schemeClr val="bg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3" name="Forme libre : forme 62">
              <a:extLst>
                <a:ext uri="{FF2B5EF4-FFF2-40B4-BE49-F238E27FC236}">
                  <a16:creationId xmlns:a16="http://schemas.microsoft.com/office/drawing/2014/main" id="{7730709A-286B-43E5-991D-7F510DD75DA9}"/>
                </a:ext>
              </a:extLst>
            </p:cNvPr>
            <p:cNvSpPr/>
            <p:nvPr/>
          </p:nvSpPr>
          <p:spPr>
            <a:xfrm>
              <a:off x="9925810" y="5667979"/>
              <a:ext cx="124484" cy="118946"/>
            </a:xfrm>
            <a:custGeom>
              <a:avLst/>
              <a:gdLst>
                <a:gd name="connsiteX0" fmla="*/ 124485 w 124484"/>
                <a:gd name="connsiteY0" fmla="*/ 72939 h 118946"/>
                <a:gd name="connsiteX1" fmla="*/ 124485 w 124484"/>
                <a:gd name="connsiteY1" fmla="*/ 118947 h 118946"/>
                <a:gd name="connsiteX2" fmla="*/ 97789 w 124484"/>
                <a:gd name="connsiteY2" fmla="*/ 118947 h 118946"/>
                <a:gd name="connsiteX3" fmla="*/ 97789 w 124484"/>
                <a:gd name="connsiteY3" fmla="*/ 76016 h 118946"/>
                <a:gd name="connsiteX4" fmla="*/ 84252 w 124484"/>
                <a:gd name="connsiteY4" fmla="*/ 57888 h 118946"/>
                <a:gd name="connsiteX5" fmla="*/ 70573 w 124484"/>
                <a:gd name="connsiteY5" fmla="*/ 67638 h 118946"/>
                <a:gd name="connsiteX6" fmla="*/ 69674 w 124484"/>
                <a:gd name="connsiteY6" fmla="*/ 74123 h 118946"/>
                <a:gd name="connsiteX7" fmla="*/ 69674 w 124484"/>
                <a:gd name="connsiteY7" fmla="*/ 118947 h 118946"/>
                <a:gd name="connsiteX8" fmla="*/ 42978 w 124484"/>
                <a:gd name="connsiteY8" fmla="*/ 118947 h 118946"/>
                <a:gd name="connsiteX9" fmla="*/ 42978 w 124484"/>
                <a:gd name="connsiteY9" fmla="*/ 38671 h 118946"/>
                <a:gd name="connsiteX10" fmla="*/ 69674 w 124484"/>
                <a:gd name="connsiteY10" fmla="*/ 38671 h 118946"/>
                <a:gd name="connsiteX11" fmla="*/ 69674 w 124484"/>
                <a:gd name="connsiteY11" fmla="*/ 50030 h 118946"/>
                <a:gd name="connsiteX12" fmla="*/ 69484 w 124484"/>
                <a:gd name="connsiteY12" fmla="*/ 50267 h 118946"/>
                <a:gd name="connsiteX13" fmla="*/ 69674 w 124484"/>
                <a:gd name="connsiteY13" fmla="*/ 50267 h 118946"/>
                <a:gd name="connsiteX14" fmla="*/ 69674 w 124484"/>
                <a:gd name="connsiteY14" fmla="*/ 50030 h 118946"/>
                <a:gd name="connsiteX15" fmla="*/ 93719 w 124484"/>
                <a:gd name="connsiteY15" fmla="*/ 36777 h 118946"/>
                <a:gd name="connsiteX16" fmla="*/ 124485 w 124484"/>
                <a:gd name="connsiteY16" fmla="*/ 72939 h 118946"/>
                <a:gd name="connsiteX17" fmla="*/ 15099 w 124484"/>
                <a:gd name="connsiteY17" fmla="*/ 0 h 118946"/>
                <a:gd name="connsiteX18" fmla="*/ 0 w 124484"/>
                <a:gd name="connsiteY18" fmla="*/ 13868 h 118946"/>
                <a:gd name="connsiteX19" fmla="*/ 14768 w 124484"/>
                <a:gd name="connsiteY19" fmla="*/ 27737 h 118946"/>
                <a:gd name="connsiteX20" fmla="*/ 14957 w 124484"/>
                <a:gd name="connsiteY20" fmla="*/ 27737 h 118946"/>
                <a:gd name="connsiteX21" fmla="*/ 30056 w 124484"/>
                <a:gd name="connsiteY21" fmla="*/ 13868 h 118946"/>
                <a:gd name="connsiteX22" fmla="*/ 15099 w 124484"/>
                <a:gd name="connsiteY22" fmla="*/ 0 h 118946"/>
                <a:gd name="connsiteX23" fmla="*/ 1609 w 124484"/>
                <a:gd name="connsiteY23" fmla="*/ 118947 h 118946"/>
                <a:gd name="connsiteX24" fmla="*/ 28305 w 124484"/>
                <a:gd name="connsiteY24" fmla="*/ 118947 h 118946"/>
                <a:gd name="connsiteX25" fmla="*/ 28305 w 124484"/>
                <a:gd name="connsiteY25" fmla="*/ 38671 h 118946"/>
                <a:gd name="connsiteX26" fmla="*/ 1609 w 124484"/>
                <a:gd name="connsiteY26" fmla="*/ 38671 h 118946"/>
                <a:gd name="connsiteX27" fmla="*/ 1609 w 124484"/>
                <a:gd name="connsiteY27" fmla="*/ 118947 h 11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24484" h="118946">
                  <a:moveTo>
                    <a:pt x="124485" y="72939"/>
                  </a:moveTo>
                  <a:lnTo>
                    <a:pt x="124485" y="118947"/>
                  </a:lnTo>
                  <a:lnTo>
                    <a:pt x="97789" y="118947"/>
                  </a:lnTo>
                  <a:lnTo>
                    <a:pt x="97789" y="76016"/>
                  </a:lnTo>
                  <a:cubicBezTo>
                    <a:pt x="97789" y="65224"/>
                    <a:pt x="93908" y="57888"/>
                    <a:pt x="84252" y="57888"/>
                  </a:cubicBezTo>
                  <a:cubicBezTo>
                    <a:pt x="76868" y="57888"/>
                    <a:pt x="72514" y="62858"/>
                    <a:pt x="70573" y="67638"/>
                  </a:cubicBezTo>
                  <a:cubicBezTo>
                    <a:pt x="69863" y="69342"/>
                    <a:pt x="69674" y="71756"/>
                    <a:pt x="69674" y="74123"/>
                  </a:cubicBezTo>
                  <a:lnTo>
                    <a:pt x="69674" y="118947"/>
                  </a:lnTo>
                  <a:lnTo>
                    <a:pt x="42978" y="118947"/>
                  </a:lnTo>
                  <a:cubicBezTo>
                    <a:pt x="42978" y="118947"/>
                    <a:pt x="43357" y="46244"/>
                    <a:pt x="42978" y="38671"/>
                  </a:cubicBezTo>
                  <a:lnTo>
                    <a:pt x="69674" y="38671"/>
                  </a:lnTo>
                  <a:lnTo>
                    <a:pt x="69674" y="50030"/>
                  </a:lnTo>
                  <a:cubicBezTo>
                    <a:pt x="69626" y="50125"/>
                    <a:pt x="69532" y="50220"/>
                    <a:pt x="69484" y="50267"/>
                  </a:cubicBezTo>
                  <a:lnTo>
                    <a:pt x="69674" y="50267"/>
                  </a:lnTo>
                  <a:lnTo>
                    <a:pt x="69674" y="50030"/>
                  </a:lnTo>
                  <a:cubicBezTo>
                    <a:pt x="73224" y="44587"/>
                    <a:pt x="79566" y="36777"/>
                    <a:pt x="93719" y="36777"/>
                  </a:cubicBezTo>
                  <a:cubicBezTo>
                    <a:pt x="111326" y="36825"/>
                    <a:pt x="124485" y="48279"/>
                    <a:pt x="124485" y="72939"/>
                  </a:cubicBezTo>
                  <a:close/>
                  <a:moveTo>
                    <a:pt x="15099" y="0"/>
                  </a:moveTo>
                  <a:cubicBezTo>
                    <a:pt x="5964" y="0"/>
                    <a:pt x="0" y="6011"/>
                    <a:pt x="0" y="13868"/>
                  </a:cubicBezTo>
                  <a:cubicBezTo>
                    <a:pt x="0" y="21584"/>
                    <a:pt x="5822" y="27737"/>
                    <a:pt x="14768" y="27737"/>
                  </a:cubicBezTo>
                  <a:lnTo>
                    <a:pt x="14957" y="27737"/>
                  </a:lnTo>
                  <a:cubicBezTo>
                    <a:pt x="24282" y="27737"/>
                    <a:pt x="30056" y="21584"/>
                    <a:pt x="30056" y="13868"/>
                  </a:cubicBezTo>
                  <a:cubicBezTo>
                    <a:pt x="29867" y="6011"/>
                    <a:pt x="24234" y="0"/>
                    <a:pt x="15099" y="0"/>
                  </a:cubicBezTo>
                  <a:close/>
                  <a:moveTo>
                    <a:pt x="1609" y="118947"/>
                  </a:moveTo>
                  <a:lnTo>
                    <a:pt x="28305" y="118947"/>
                  </a:lnTo>
                  <a:lnTo>
                    <a:pt x="28305" y="38671"/>
                  </a:lnTo>
                  <a:lnTo>
                    <a:pt x="1609" y="38671"/>
                  </a:lnTo>
                  <a:lnTo>
                    <a:pt x="1609" y="118947"/>
                  </a:lnTo>
                  <a:close/>
                </a:path>
              </a:pathLst>
            </a:custGeom>
            <a:solidFill>
              <a:schemeClr val="bg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4" name="Forme libre : forme 63">
              <a:extLst>
                <a:ext uri="{FF2B5EF4-FFF2-40B4-BE49-F238E27FC236}">
                  <a16:creationId xmlns:a16="http://schemas.microsoft.com/office/drawing/2014/main" id="{221530B6-CF3E-4F47-8928-3F1B4D32C40C}"/>
                </a:ext>
              </a:extLst>
            </p:cNvPr>
            <p:cNvSpPr/>
            <p:nvPr/>
          </p:nvSpPr>
          <p:spPr>
            <a:xfrm>
              <a:off x="10278534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58 w 289676"/>
                <a:gd name="connsiteY5" fmla="*/ 144838 h 289675"/>
                <a:gd name="connsiteX6" fmla="*/ 144838 w 289676"/>
                <a:gd name="connsiteY6" fmla="*/ 13158 h 289675"/>
                <a:gd name="connsiteX7" fmla="*/ 276518 w 289676"/>
                <a:gd name="connsiteY7" fmla="*/ 144838 h 289675"/>
                <a:gd name="connsiteX8" fmla="*/ 144838 w 289676"/>
                <a:gd name="connsiteY8" fmla="*/ 276517 h 289675"/>
                <a:gd name="connsiteX9" fmla="*/ 13158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6"/>
                    <a:pt x="224830" y="0"/>
                    <a:pt x="144838" y="0"/>
                  </a:cubicBezTo>
                  <a:cubicBezTo>
                    <a:pt x="64846" y="0"/>
                    <a:pt x="0" y="64846"/>
                    <a:pt x="0" y="144838"/>
                  </a:cubicBezTo>
                  <a:cubicBezTo>
                    <a:pt x="0" y="224829"/>
                    <a:pt x="64846" y="289675"/>
                    <a:pt x="144838" y="289675"/>
                  </a:cubicBezTo>
                  <a:cubicBezTo>
                    <a:pt x="224830" y="289675"/>
                    <a:pt x="289676" y="224829"/>
                    <a:pt x="289676" y="144838"/>
                  </a:cubicBezTo>
                  <a:close/>
                  <a:moveTo>
                    <a:pt x="13158" y="144838"/>
                  </a:moveTo>
                  <a:cubicBezTo>
                    <a:pt x="13158" y="72135"/>
                    <a:pt x="72135" y="13158"/>
                    <a:pt x="144838" y="13158"/>
                  </a:cubicBezTo>
                  <a:cubicBezTo>
                    <a:pt x="217541" y="13158"/>
                    <a:pt x="276518" y="72135"/>
                    <a:pt x="276518" y="144838"/>
                  </a:cubicBezTo>
                  <a:cubicBezTo>
                    <a:pt x="276518" y="217540"/>
                    <a:pt x="217541" y="276517"/>
                    <a:pt x="144838" y="276517"/>
                  </a:cubicBezTo>
                  <a:cubicBezTo>
                    <a:pt x="72135" y="276517"/>
                    <a:pt x="13158" y="217540"/>
                    <a:pt x="13158" y="144838"/>
                  </a:cubicBezTo>
                  <a:close/>
                </a:path>
              </a:pathLst>
            </a:custGeom>
            <a:solidFill>
              <a:schemeClr val="bg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5" name="Forme libre : forme 64">
              <a:extLst>
                <a:ext uri="{FF2B5EF4-FFF2-40B4-BE49-F238E27FC236}">
                  <a16:creationId xmlns:a16="http://schemas.microsoft.com/office/drawing/2014/main" id="{2EE5109E-823E-45CC-9F93-C783696A323F}"/>
                </a:ext>
              </a:extLst>
            </p:cNvPr>
            <p:cNvSpPr/>
            <p:nvPr/>
          </p:nvSpPr>
          <p:spPr>
            <a:xfrm>
              <a:off x="10350290" y="5683505"/>
              <a:ext cx="148529" cy="104604"/>
            </a:xfrm>
            <a:custGeom>
              <a:avLst/>
              <a:gdLst>
                <a:gd name="connsiteX0" fmla="*/ 145406 w 148529"/>
                <a:gd name="connsiteY0" fmla="*/ 16330 h 104604"/>
                <a:gd name="connsiteX1" fmla="*/ 132295 w 148529"/>
                <a:gd name="connsiteY1" fmla="*/ 3124 h 104604"/>
                <a:gd name="connsiteX2" fmla="*/ 74265 w 148529"/>
                <a:gd name="connsiteY2" fmla="*/ 0 h 104604"/>
                <a:gd name="connsiteX3" fmla="*/ 16235 w 148529"/>
                <a:gd name="connsiteY3" fmla="*/ 3124 h 104604"/>
                <a:gd name="connsiteX4" fmla="*/ 3124 w 148529"/>
                <a:gd name="connsiteY4" fmla="*/ 16330 h 104604"/>
                <a:gd name="connsiteX5" fmla="*/ 0 w 148529"/>
                <a:gd name="connsiteY5" fmla="*/ 52302 h 104604"/>
                <a:gd name="connsiteX6" fmla="*/ 3124 w 148529"/>
                <a:gd name="connsiteY6" fmla="*/ 88275 h 104604"/>
                <a:gd name="connsiteX7" fmla="*/ 16235 w 148529"/>
                <a:gd name="connsiteY7" fmla="*/ 101481 h 104604"/>
                <a:gd name="connsiteX8" fmla="*/ 74265 w 148529"/>
                <a:gd name="connsiteY8" fmla="*/ 104605 h 104604"/>
                <a:gd name="connsiteX9" fmla="*/ 132295 w 148529"/>
                <a:gd name="connsiteY9" fmla="*/ 101481 h 104604"/>
                <a:gd name="connsiteX10" fmla="*/ 145406 w 148529"/>
                <a:gd name="connsiteY10" fmla="*/ 88275 h 104604"/>
                <a:gd name="connsiteX11" fmla="*/ 148530 w 148529"/>
                <a:gd name="connsiteY11" fmla="*/ 52302 h 104604"/>
                <a:gd name="connsiteX12" fmla="*/ 145406 w 148529"/>
                <a:gd name="connsiteY12" fmla="*/ 16330 h 104604"/>
                <a:gd name="connsiteX13" fmla="*/ 59071 w 148529"/>
                <a:gd name="connsiteY13" fmla="*/ 74407 h 104604"/>
                <a:gd name="connsiteX14" fmla="*/ 59071 w 148529"/>
                <a:gd name="connsiteY14" fmla="*/ 30245 h 104604"/>
                <a:gd name="connsiteX15" fmla="*/ 97884 w 148529"/>
                <a:gd name="connsiteY15" fmla="*/ 52302 h 104604"/>
                <a:gd name="connsiteX16" fmla="*/ 59071 w 148529"/>
                <a:gd name="connsiteY16" fmla="*/ 74407 h 104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8529" h="104604">
                  <a:moveTo>
                    <a:pt x="145406" y="16330"/>
                  </a:moveTo>
                  <a:cubicBezTo>
                    <a:pt x="143702" y="9892"/>
                    <a:pt x="138685" y="4828"/>
                    <a:pt x="132295" y="3124"/>
                  </a:cubicBezTo>
                  <a:cubicBezTo>
                    <a:pt x="120698" y="0"/>
                    <a:pt x="74265" y="0"/>
                    <a:pt x="74265" y="0"/>
                  </a:cubicBezTo>
                  <a:cubicBezTo>
                    <a:pt x="74265" y="0"/>
                    <a:pt x="27832" y="0"/>
                    <a:pt x="16235" y="3124"/>
                  </a:cubicBezTo>
                  <a:cubicBezTo>
                    <a:pt x="9845" y="4828"/>
                    <a:pt x="4828" y="9892"/>
                    <a:pt x="3124" y="16330"/>
                  </a:cubicBezTo>
                  <a:cubicBezTo>
                    <a:pt x="0" y="27974"/>
                    <a:pt x="0" y="52302"/>
                    <a:pt x="0" y="52302"/>
                  </a:cubicBezTo>
                  <a:cubicBezTo>
                    <a:pt x="0" y="52302"/>
                    <a:pt x="0" y="76631"/>
                    <a:pt x="3124" y="88275"/>
                  </a:cubicBezTo>
                  <a:cubicBezTo>
                    <a:pt x="4828" y="94712"/>
                    <a:pt x="9845" y="99777"/>
                    <a:pt x="16235" y="101481"/>
                  </a:cubicBezTo>
                  <a:cubicBezTo>
                    <a:pt x="27832" y="104605"/>
                    <a:pt x="74265" y="104605"/>
                    <a:pt x="74265" y="104605"/>
                  </a:cubicBezTo>
                  <a:cubicBezTo>
                    <a:pt x="74265" y="104605"/>
                    <a:pt x="120698" y="104605"/>
                    <a:pt x="132295" y="101481"/>
                  </a:cubicBezTo>
                  <a:cubicBezTo>
                    <a:pt x="138685" y="99777"/>
                    <a:pt x="143702" y="94712"/>
                    <a:pt x="145406" y="88275"/>
                  </a:cubicBezTo>
                  <a:cubicBezTo>
                    <a:pt x="148530" y="76631"/>
                    <a:pt x="148530" y="52302"/>
                    <a:pt x="148530" y="52302"/>
                  </a:cubicBezTo>
                  <a:cubicBezTo>
                    <a:pt x="148530" y="52302"/>
                    <a:pt x="148483" y="28021"/>
                    <a:pt x="145406" y="16330"/>
                  </a:cubicBezTo>
                  <a:close/>
                  <a:moveTo>
                    <a:pt x="59071" y="74407"/>
                  </a:moveTo>
                  <a:lnTo>
                    <a:pt x="59071" y="30245"/>
                  </a:lnTo>
                  <a:lnTo>
                    <a:pt x="97884" y="52302"/>
                  </a:lnTo>
                  <a:lnTo>
                    <a:pt x="59071" y="74407"/>
                  </a:lnTo>
                  <a:close/>
                </a:path>
              </a:pathLst>
            </a:custGeom>
            <a:solidFill>
              <a:schemeClr val="bg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6" name="Forme libre : forme 65">
              <a:extLst>
                <a:ext uri="{FF2B5EF4-FFF2-40B4-BE49-F238E27FC236}">
                  <a16:creationId xmlns:a16="http://schemas.microsoft.com/office/drawing/2014/main" id="{78A74D03-6677-4BE9-846F-A2A099B86BCB}"/>
                </a:ext>
              </a:extLst>
            </p:cNvPr>
            <p:cNvSpPr/>
            <p:nvPr/>
          </p:nvSpPr>
          <p:spPr>
            <a:xfrm>
              <a:off x="10719297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58 w 289676"/>
                <a:gd name="connsiteY5" fmla="*/ 144838 h 289675"/>
                <a:gd name="connsiteX6" fmla="*/ 144838 w 289676"/>
                <a:gd name="connsiteY6" fmla="*/ 13158 h 289675"/>
                <a:gd name="connsiteX7" fmla="*/ 276518 w 289676"/>
                <a:gd name="connsiteY7" fmla="*/ 144838 h 289675"/>
                <a:gd name="connsiteX8" fmla="*/ 144838 w 289676"/>
                <a:gd name="connsiteY8" fmla="*/ 276517 h 289675"/>
                <a:gd name="connsiteX9" fmla="*/ 13158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6"/>
                    <a:pt x="224830" y="0"/>
                    <a:pt x="144838" y="0"/>
                  </a:cubicBezTo>
                  <a:cubicBezTo>
                    <a:pt x="64846" y="0"/>
                    <a:pt x="0" y="64846"/>
                    <a:pt x="0" y="144838"/>
                  </a:cubicBezTo>
                  <a:cubicBezTo>
                    <a:pt x="0" y="224829"/>
                    <a:pt x="64846" y="289675"/>
                    <a:pt x="144838" y="289675"/>
                  </a:cubicBezTo>
                  <a:cubicBezTo>
                    <a:pt x="224830" y="289675"/>
                    <a:pt x="289676" y="224829"/>
                    <a:pt x="289676" y="144838"/>
                  </a:cubicBezTo>
                  <a:close/>
                  <a:moveTo>
                    <a:pt x="13158" y="144838"/>
                  </a:moveTo>
                  <a:cubicBezTo>
                    <a:pt x="13158" y="72135"/>
                    <a:pt x="72135" y="13158"/>
                    <a:pt x="144838" y="13158"/>
                  </a:cubicBezTo>
                  <a:cubicBezTo>
                    <a:pt x="217541" y="13158"/>
                    <a:pt x="276518" y="72135"/>
                    <a:pt x="276518" y="144838"/>
                  </a:cubicBezTo>
                  <a:cubicBezTo>
                    <a:pt x="276518" y="217540"/>
                    <a:pt x="217541" y="276517"/>
                    <a:pt x="144838" y="276517"/>
                  </a:cubicBezTo>
                  <a:cubicBezTo>
                    <a:pt x="72135" y="276517"/>
                    <a:pt x="13158" y="217540"/>
                    <a:pt x="13158" y="144838"/>
                  </a:cubicBezTo>
                  <a:close/>
                </a:path>
              </a:pathLst>
            </a:custGeom>
            <a:solidFill>
              <a:schemeClr val="bg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8" name="Forme libre : forme 67">
              <a:extLst>
                <a:ext uri="{FF2B5EF4-FFF2-40B4-BE49-F238E27FC236}">
                  <a16:creationId xmlns:a16="http://schemas.microsoft.com/office/drawing/2014/main" id="{8CFE4267-E7E5-473F-AED5-3E428855ECC9}"/>
                </a:ext>
              </a:extLst>
            </p:cNvPr>
            <p:cNvSpPr/>
            <p:nvPr/>
          </p:nvSpPr>
          <p:spPr>
            <a:xfrm>
              <a:off x="9463871" y="5667392"/>
              <a:ext cx="155965" cy="133701"/>
            </a:xfrm>
            <a:custGeom>
              <a:avLst/>
              <a:gdLst>
                <a:gd name="connsiteX0" fmla="*/ 140086 w 155965"/>
                <a:gd name="connsiteY0" fmla="*/ 38057 h 133701"/>
                <a:gd name="connsiteX1" fmla="*/ 139994 w 155965"/>
                <a:gd name="connsiteY1" fmla="*/ 33712 h 133701"/>
                <a:gd name="connsiteX2" fmla="*/ 155965 w 155965"/>
                <a:gd name="connsiteY2" fmla="*/ 16542 h 133701"/>
                <a:gd name="connsiteX3" fmla="*/ 137584 w 155965"/>
                <a:gd name="connsiteY3" fmla="*/ 21572 h 133701"/>
                <a:gd name="connsiteX4" fmla="*/ 151660 w 155965"/>
                <a:gd name="connsiteY4" fmla="*/ 3191 h 133701"/>
                <a:gd name="connsiteX5" fmla="*/ 131343 w 155965"/>
                <a:gd name="connsiteY5" fmla="*/ 11025 h 133701"/>
                <a:gd name="connsiteX6" fmla="*/ 107984 w 155965"/>
                <a:gd name="connsiteY6" fmla="*/ 4 h 133701"/>
                <a:gd name="connsiteX7" fmla="*/ 75988 w 155965"/>
                <a:gd name="connsiteY7" fmla="*/ 33356 h 133701"/>
                <a:gd name="connsiteX8" fmla="*/ 76817 w 155965"/>
                <a:gd name="connsiteY8" fmla="*/ 41085 h 133701"/>
                <a:gd name="connsiteX9" fmla="*/ 10850 w 155965"/>
                <a:gd name="connsiteY9" fmla="*/ 4639 h 133701"/>
                <a:gd name="connsiteX10" fmla="*/ 6518 w 155965"/>
                <a:gd name="connsiteY10" fmla="*/ 21756 h 133701"/>
                <a:gd name="connsiteX11" fmla="*/ 20752 w 155965"/>
                <a:gd name="connsiteY11" fmla="*/ 50355 h 133701"/>
                <a:gd name="connsiteX12" fmla="*/ 6255 w 155965"/>
                <a:gd name="connsiteY12" fmla="*/ 45918 h 133701"/>
                <a:gd name="connsiteX13" fmla="*/ 6255 w 155965"/>
                <a:gd name="connsiteY13" fmla="*/ 46352 h 133701"/>
                <a:gd name="connsiteX14" fmla="*/ 31931 w 155965"/>
                <a:gd name="connsiteY14" fmla="*/ 80033 h 133701"/>
                <a:gd name="connsiteX15" fmla="*/ 23504 w 155965"/>
                <a:gd name="connsiteY15" fmla="*/ 81179 h 133701"/>
                <a:gd name="connsiteX16" fmla="*/ 17486 w 155965"/>
                <a:gd name="connsiteY16" fmla="*/ 80521 h 133701"/>
                <a:gd name="connsiteX17" fmla="*/ 47375 w 155965"/>
                <a:gd name="connsiteY17" fmla="*/ 104340 h 133701"/>
                <a:gd name="connsiteX18" fmla="*/ 7637 w 155965"/>
                <a:gd name="connsiteY18" fmla="*/ 118810 h 133701"/>
                <a:gd name="connsiteX19" fmla="*/ 0 w 155965"/>
                <a:gd name="connsiteY19" fmla="*/ 118323 h 133701"/>
                <a:gd name="connsiteX20" fmla="*/ 49060 w 155965"/>
                <a:gd name="connsiteY20" fmla="*/ 133702 h 133701"/>
                <a:gd name="connsiteX21" fmla="*/ 140086 w 155965"/>
                <a:gd name="connsiteY21" fmla="*/ 38057 h 133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5965" h="133701">
                  <a:moveTo>
                    <a:pt x="140086" y="38057"/>
                  </a:moveTo>
                  <a:cubicBezTo>
                    <a:pt x="140086" y="36595"/>
                    <a:pt x="140059" y="35147"/>
                    <a:pt x="139994" y="33712"/>
                  </a:cubicBezTo>
                  <a:cubicBezTo>
                    <a:pt x="146248" y="29051"/>
                    <a:pt x="151673" y="23218"/>
                    <a:pt x="155965" y="16542"/>
                  </a:cubicBezTo>
                  <a:cubicBezTo>
                    <a:pt x="150224" y="19123"/>
                    <a:pt x="144062" y="20848"/>
                    <a:pt x="137584" y="21572"/>
                  </a:cubicBezTo>
                  <a:cubicBezTo>
                    <a:pt x="144194" y="17503"/>
                    <a:pt x="149263" y="10999"/>
                    <a:pt x="151660" y="3191"/>
                  </a:cubicBezTo>
                  <a:cubicBezTo>
                    <a:pt x="145471" y="6943"/>
                    <a:pt x="138624" y="9629"/>
                    <a:pt x="131343" y="11025"/>
                  </a:cubicBezTo>
                  <a:cubicBezTo>
                    <a:pt x="125510" y="4389"/>
                    <a:pt x="117188" y="162"/>
                    <a:pt x="107984" y="4"/>
                  </a:cubicBezTo>
                  <a:cubicBezTo>
                    <a:pt x="90314" y="-286"/>
                    <a:pt x="75988" y="14646"/>
                    <a:pt x="75988" y="33356"/>
                  </a:cubicBezTo>
                  <a:cubicBezTo>
                    <a:pt x="75988" y="36016"/>
                    <a:pt x="76264" y="38597"/>
                    <a:pt x="76817" y="41085"/>
                  </a:cubicBezTo>
                  <a:cubicBezTo>
                    <a:pt x="50207" y="39373"/>
                    <a:pt x="26625" y="25522"/>
                    <a:pt x="10850" y="4639"/>
                  </a:cubicBezTo>
                  <a:cubicBezTo>
                    <a:pt x="8098" y="9642"/>
                    <a:pt x="6518" y="15489"/>
                    <a:pt x="6518" y="21756"/>
                  </a:cubicBezTo>
                  <a:cubicBezTo>
                    <a:pt x="6518" y="33607"/>
                    <a:pt x="12167" y="44140"/>
                    <a:pt x="20752" y="50355"/>
                  </a:cubicBezTo>
                  <a:cubicBezTo>
                    <a:pt x="15498" y="50118"/>
                    <a:pt x="10574" y="48525"/>
                    <a:pt x="6255" y="45918"/>
                  </a:cubicBezTo>
                  <a:cubicBezTo>
                    <a:pt x="6255" y="46062"/>
                    <a:pt x="6255" y="46207"/>
                    <a:pt x="6255" y="46352"/>
                  </a:cubicBezTo>
                  <a:cubicBezTo>
                    <a:pt x="6255" y="62917"/>
                    <a:pt x="17289" y="76795"/>
                    <a:pt x="31931" y="80033"/>
                  </a:cubicBezTo>
                  <a:cubicBezTo>
                    <a:pt x="29244" y="80797"/>
                    <a:pt x="26414" y="81192"/>
                    <a:pt x="23504" y="81179"/>
                  </a:cubicBezTo>
                  <a:cubicBezTo>
                    <a:pt x="21436" y="81166"/>
                    <a:pt x="19435" y="80942"/>
                    <a:pt x="17486" y="80521"/>
                  </a:cubicBezTo>
                  <a:cubicBezTo>
                    <a:pt x="21555" y="94096"/>
                    <a:pt x="33379" y="104011"/>
                    <a:pt x="47375" y="104340"/>
                  </a:cubicBezTo>
                  <a:cubicBezTo>
                    <a:pt x="36420" y="113425"/>
                    <a:pt x="22621" y="118849"/>
                    <a:pt x="7637" y="118810"/>
                  </a:cubicBezTo>
                  <a:cubicBezTo>
                    <a:pt x="5056" y="118810"/>
                    <a:pt x="2502" y="118639"/>
                    <a:pt x="0" y="118323"/>
                  </a:cubicBezTo>
                  <a:cubicBezTo>
                    <a:pt x="14168" y="128040"/>
                    <a:pt x="30982" y="133702"/>
                    <a:pt x="49060" y="133702"/>
                  </a:cubicBezTo>
                  <a:cubicBezTo>
                    <a:pt x="107905" y="133716"/>
                    <a:pt x="140086" y="82496"/>
                    <a:pt x="140086" y="38057"/>
                  </a:cubicBezTo>
                  <a:close/>
                </a:path>
              </a:pathLst>
            </a:custGeom>
            <a:solidFill>
              <a:schemeClr val="bg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0" name="Forme libre : forme 69">
              <a:extLst>
                <a:ext uri="{FF2B5EF4-FFF2-40B4-BE49-F238E27FC236}">
                  <a16:creationId xmlns:a16="http://schemas.microsoft.com/office/drawing/2014/main" id="{65404A86-96C1-4D36-B759-CD7470571589}"/>
                </a:ext>
              </a:extLst>
            </p:cNvPr>
            <p:cNvSpPr/>
            <p:nvPr/>
          </p:nvSpPr>
          <p:spPr>
            <a:xfrm>
              <a:off x="9397010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67 w 289676"/>
                <a:gd name="connsiteY5" fmla="*/ 144838 h 289675"/>
                <a:gd name="connsiteX6" fmla="*/ 144838 w 289676"/>
                <a:gd name="connsiteY6" fmla="*/ 13167 h 289675"/>
                <a:gd name="connsiteX7" fmla="*/ 276509 w 289676"/>
                <a:gd name="connsiteY7" fmla="*/ 144838 h 289675"/>
                <a:gd name="connsiteX8" fmla="*/ 144838 w 289676"/>
                <a:gd name="connsiteY8" fmla="*/ 276508 h 289675"/>
                <a:gd name="connsiteX9" fmla="*/ 13167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7"/>
                    <a:pt x="224828" y="0"/>
                    <a:pt x="144838" y="0"/>
                  </a:cubicBezTo>
                  <a:cubicBezTo>
                    <a:pt x="64848" y="0"/>
                    <a:pt x="0" y="64847"/>
                    <a:pt x="0" y="144838"/>
                  </a:cubicBezTo>
                  <a:cubicBezTo>
                    <a:pt x="0" y="224827"/>
                    <a:pt x="64848" y="289675"/>
                    <a:pt x="144838" y="289675"/>
                  </a:cubicBezTo>
                  <a:cubicBezTo>
                    <a:pt x="224828" y="289675"/>
                    <a:pt x="289676" y="224827"/>
                    <a:pt x="289676" y="144838"/>
                  </a:cubicBezTo>
                  <a:close/>
                  <a:moveTo>
                    <a:pt x="13167" y="144838"/>
                  </a:moveTo>
                  <a:cubicBezTo>
                    <a:pt x="13167" y="72116"/>
                    <a:pt x="72116" y="13167"/>
                    <a:pt x="144838" y="13167"/>
                  </a:cubicBezTo>
                  <a:cubicBezTo>
                    <a:pt x="217560" y="13167"/>
                    <a:pt x="276509" y="72116"/>
                    <a:pt x="276509" y="144838"/>
                  </a:cubicBezTo>
                  <a:cubicBezTo>
                    <a:pt x="276509" y="217559"/>
                    <a:pt x="217560" y="276508"/>
                    <a:pt x="144838" y="276508"/>
                  </a:cubicBezTo>
                  <a:cubicBezTo>
                    <a:pt x="72116" y="276508"/>
                    <a:pt x="13167" y="217559"/>
                    <a:pt x="13167" y="144838"/>
                  </a:cubicBezTo>
                  <a:close/>
                </a:path>
              </a:pathLst>
            </a:custGeom>
            <a:solidFill>
              <a:schemeClr val="bg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2" name="Forme libre : forme 71">
              <a:extLst>
                <a:ext uri="{FF2B5EF4-FFF2-40B4-BE49-F238E27FC236}">
                  <a16:creationId xmlns:a16="http://schemas.microsoft.com/office/drawing/2014/main" id="{EA53AD34-EB40-4E8C-AFA2-58976F644559}"/>
                </a:ext>
              </a:extLst>
            </p:cNvPr>
            <p:cNvSpPr/>
            <p:nvPr/>
          </p:nvSpPr>
          <p:spPr>
            <a:xfrm>
              <a:off x="9062190" y="5650872"/>
              <a:ext cx="77935" cy="166970"/>
            </a:xfrm>
            <a:custGeom>
              <a:avLst/>
              <a:gdLst>
                <a:gd name="connsiteX0" fmla="*/ 44452 w 77935"/>
                <a:gd name="connsiteY0" fmla="*/ 166971 h 166970"/>
                <a:gd name="connsiteX1" fmla="*/ 44452 w 77935"/>
                <a:gd name="connsiteY1" fmla="*/ 83373 h 166970"/>
                <a:gd name="connsiteX2" fmla="*/ 72037 w 77935"/>
                <a:gd name="connsiteY2" fmla="*/ 83373 h 166970"/>
                <a:gd name="connsiteX3" fmla="*/ 76395 w 77935"/>
                <a:gd name="connsiteY3" fmla="*/ 55670 h 166970"/>
                <a:gd name="connsiteX4" fmla="*/ 44452 w 77935"/>
                <a:gd name="connsiteY4" fmla="*/ 55670 h 166970"/>
                <a:gd name="connsiteX5" fmla="*/ 44452 w 77935"/>
                <a:gd name="connsiteY5" fmla="*/ 41779 h 166970"/>
                <a:gd name="connsiteX6" fmla="*/ 57198 w 77935"/>
                <a:gd name="connsiteY6" fmla="*/ 27651 h 166970"/>
                <a:gd name="connsiteX7" fmla="*/ 77936 w 77935"/>
                <a:gd name="connsiteY7" fmla="*/ 27651 h 166970"/>
                <a:gd name="connsiteX8" fmla="*/ 77936 w 77935"/>
                <a:gd name="connsiteY8" fmla="*/ 0 h 166970"/>
                <a:gd name="connsiteX9" fmla="*/ 48494 w 77935"/>
                <a:gd name="connsiteY9" fmla="*/ 0 h 166970"/>
                <a:gd name="connsiteX10" fmla="*/ 16985 w 77935"/>
                <a:gd name="connsiteY10" fmla="*/ 38895 h 166970"/>
                <a:gd name="connsiteX11" fmla="*/ 16985 w 77935"/>
                <a:gd name="connsiteY11" fmla="*/ 55657 h 166970"/>
                <a:gd name="connsiteX12" fmla="*/ 0 w 77935"/>
                <a:gd name="connsiteY12" fmla="*/ 55657 h 166970"/>
                <a:gd name="connsiteX13" fmla="*/ 0 w 77935"/>
                <a:gd name="connsiteY13" fmla="*/ 83373 h 166970"/>
                <a:gd name="connsiteX14" fmla="*/ 16985 w 77935"/>
                <a:gd name="connsiteY14" fmla="*/ 83373 h 166970"/>
                <a:gd name="connsiteX15" fmla="*/ 16985 w 77935"/>
                <a:gd name="connsiteY15" fmla="*/ 166971 h 166970"/>
                <a:gd name="connsiteX16" fmla="*/ 44452 w 77935"/>
                <a:gd name="connsiteY16" fmla="*/ 166971 h 166970"/>
                <a:gd name="connsiteX17" fmla="*/ 44452 w 77935"/>
                <a:gd name="connsiteY17" fmla="*/ 166971 h 166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935" h="166970">
                  <a:moveTo>
                    <a:pt x="44452" y="166971"/>
                  </a:moveTo>
                  <a:lnTo>
                    <a:pt x="44452" y="83373"/>
                  </a:lnTo>
                  <a:lnTo>
                    <a:pt x="72037" y="83373"/>
                  </a:lnTo>
                  <a:lnTo>
                    <a:pt x="76395" y="55670"/>
                  </a:lnTo>
                  <a:lnTo>
                    <a:pt x="44452" y="55670"/>
                  </a:lnTo>
                  <a:lnTo>
                    <a:pt x="44452" y="41779"/>
                  </a:lnTo>
                  <a:cubicBezTo>
                    <a:pt x="44452" y="34550"/>
                    <a:pt x="46822" y="27651"/>
                    <a:pt x="57198" y="27651"/>
                  </a:cubicBezTo>
                  <a:lnTo>
                    <a:pt x="77936" y="27651"/>
                  </a:lnTo>
                  <a:lnTo>
                    <a:pt x="77936" y="0"/>
                  </a:lnTo>
                  <a:lnTo>
                    <a:pt x="48494" y="0"/>
                  </a:lnTo>
                  <a:cubicBezTo>
                    <a:pt x="23740" y="0"/>
                    <a:pt x="16985" y="16300"/>
                    <a:pt x="16985" y="38895"/>
                  </a:cubicBezTo>
                  <a:lnTo>
                    <a:pt x="16985" y="55657"/>
                  </a:lnTo>
                  <a:lnTo>
                    <a:pt x="0" y="55657"/>
                  </a:lnTo>
                  <a:lnTo>
                    <a:pt x="0" y="83373"/>
                  </a:lnTo>
                  <a:lnTo>
                    <a:pt x="16985" y="83373"/>
                  </a:lnTo>
                  <a:lnTo>
                    <a:pt x="16985" y="166971"/>
                  </a:lnTo>
                  <a:lnTo>
                    <a:pt x="44452" y="166971"/>
                  </a:lnTo>
                  <a:lnTo>
                    <a:pt x="44452" y="166971"/>
                  </a:lnTo>
                  <a:close/>
                </a:path>
              </a:pathLst>
            </a:custGeom>
            <a:solidFill>
              <a:schemeClr val="bg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4" name="Ellipse 73">
              <a:hlinkClick r:id="rId4"/>
              <a:extLst>
                <a:ext uri="{FF2B5EF4-FFF2-40B4-BE49-F238E27FC236}">
                  <a16:creationId xmlns:a16="http://schemas.microsoft.com/office/drawing/2014/main" id="{63B8D93B-7405-461F-B900-982849EB6AD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54324" y="5587483"/>
              <a:ext cx="291600" cy="29160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6" name="Ellipse 75">
              <a:hlinkClick r:id="rId5"/>
              <a:extLst>
                <a:ext uri="{FF2B5EF4-FFF2-40B4-BE49-F238E27FC236}">
                  <a16:creationId xmlns:a16="http://schemas.microsoft.com/office/drawing/2014/main" id="{6CE7CD35-1669-41F8-AFE7-F817146AB5E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95086" y="5587483"/>
              <a:ext cx="291600" cy="29160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8" name="Ellipse 77">
              <a:hlinkClick r:id="rId6"/>
              <a:extLst>
                <a:ext uri="{FF2B5EF4-FFF2-40B4-BE49-F238E27FC236}">
                  <a16:creationId xmlns:a16="http://schemas.microsoft.com/office/drawing/2014/main" id="{7E94593E-ABB7-413D-8BF3-218EAA29021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835848" y="5587483"/>
              <a:ext cx="291600" cy="29160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0" name="Ellipse 79">
              <a:hlinkClick r:id="rId7"/>
              <a:extLst>
                <a:ext uri="{FF2B5EF4-FFF2-40B4-BE49-F238E27FC236}">
                  <a16:creationId xmlns:a16="http://schemas.microsoft.com/office/drawing/2014/main" id="{583C3C3B-5763-4B6C-A550-90930F0A101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76610" y="5587483"/>
              <a:ext cx="291600" cy="29160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1" name="Ellipse 80">
              <a:hlinkClick r:id="rId8"/>
              <a:extLst>
                <a:ext uri="{FF2B5EF4-FFF2-40B4-BE49-F238E27FC236}">
                  <a16:creationId xmlns:a16="http://schemas.microsoft.com/office/drawing/2014/main" id="{6A06CB02-FD91-42C9-A063-4935A97C08E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717373" y="5587483"/>
              <a:ext cx="291600" cy="291600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91293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66667E-6 4.81481E-6 L 1.66667E-6 0.05162 " pathEditMode="relative" rAng="0" ptsTypes="AA">
                                      <p:cBhvr>
                                        <p:cTn id="30" dur="75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69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66667E-6 4.81481E-6 L 1.66667E-6 0.05162 " pathEditMode="relative" rAng="0" ptsTypes="AA">
                                      <p:cBhvr>
                                        <p:cTn id="35" dur="750" spd="-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69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40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3" presetClass="path" presetSubtype="0" decel="100000" fill="hold" grpId="1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45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63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50" dur="75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3" presetClass="path" presetSubtype="0" decel="100000" fill="hold" grpId="1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55" dur="7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63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60" dur="75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63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65" dur="75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2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63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70" dur="75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63" presetClass="path" presetSubtype="0" decel="100000" fill="hold" grpId="1" nodeType="withEffect">
                                  <p:stCondLst>
                                    <p:cond delay="3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75" dur="7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2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63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80" dur="75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2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3" presetClass="path" presetSubtype="0" decel="100000" fill="hold" grpId="1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85" dur="75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25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63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90" dur="75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25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63" presetClass="path" presetSubtype="0" decel="100000" fill="hold" grpId="1" nodeType="withEffect">
                                  <p:stCondLst>
                                    <p:cond delay="5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95" dur="75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2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63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100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25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63" presetClass="path" presetSubtype="0" decel="100000" fill="hold" grpId="1" nodeType="withEffect">
                                  <p:stCondLst>
                                    <p:cond delay="6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105" dur="75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25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110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1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2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3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4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5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6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/>
      <p:bldP spid="96" grpId="1" animBg="1"/>
      <p:bldP spid="94" grpId="0" animBg="1"/>
      <p:bldP spid="94" grpId="1" animBg="1"/>
      <p:bldP spid="92" grpId="0" animBg="1"/>
      <p:bldP spid="92" grpId="1" animBg="1"/>
      <p:bldP spid="90" grpId="0" animBg="1"/>
      <p:bldP spid="90" grpId="1" animBg="1"/>
      <p:bldP spid="88" grpId="0" animBg="1"/>
      <p:bldP spid="88" grpId="1" animBg="1"/>
      <p:bldP spid="86" grpId="0" animBg="1"/>
      <p:bldP spid="86" grpId="1" animBg="1"/>
      <p:bldP spid="84" grpId="0" animBg="1"/>
      <p:bldP spid="84" grpId="1" animBg="1"/>
      <p:bldP spid="82" grpId="0" animBg="1"/>
      <p:bldP spid="82" grpId="1" animBg="1"/>
      <p:bldP spid="79" grpId="0" animBg="1"/>
      <p:bldP spid="79" grpId="1" animBg="1"/>
      <p:bldP spid="77" grpId="0" animBg="1"/>
      <p:bldP spid="77" grpId="1" animBg="1"/>
      <p:bldP spid="75" grpId="0" animBg="1"/>
      <p:bldP spid="75" grpId="1" animBg="1"/>
      <p:bldP spid="73" grpId="0" animBg="1"/>
      <p:bldP spid="73" grpId="1" animBg="1"/>
      <p:bldP spid="71" grpId="0" animBg="1"/>
      <p:bldP spid="71" grpId="1" animBg="1"/>
      <p:bldP spid="69" grpId="0" animBg="1"/>
      <p:bldP spid="69" grpId="1" animBg="1"/>
      <p:bldP spid="67" grpId="0" animBg="1"/>
      <p:bldP spid="67" grpId="1" animBg="1"/>
      <p:bldP spid="4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e 14">
            <a:extLst>
              <a:ext uri="{FF2B5EF4-FFF2-40B4-BE49-F238E27FC236}">
                <a16:creationId xmlns:a16="http://schemas.microsoft.com/office/drawing/2014/main" id="{B6DA2B82-3369-4AE7-BA57-24F4E854DD3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67732" y="1"/>
            <a:ext cx="885600" cy="1138181"/>
            <a:chOff x="608663" y="3130115"/>
            <a:chExt cx="1033869" cy="1328738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F4DEC1B-8D48-4E10-9DB1-E4AF6582F3F4}"/>
                </a:ext>
              </a:extLst>
            </p:cNvPr>
            <p:cNvSpPr/>
            <p:nvPr/>
          </p:nvSpPr>
          <p:spPr>
            <a:xfrm>
              <a:off x="608663" y="3130115"/>
              <a:ext cx="1033869" cy="13287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1000" sy="101000" algn="ctr" rotWithShape="0">
                <a:schemeClr val="accent4"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dirty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17" name="Graphique 81">
              <a:extLst>
                <a:ext uri="{FF2B5EF4-FFF2-40B4-BE49-F238E27FC236}">
                  <a16:creationId xmlns:a16="http://schemas.microsoft.com/office/drawing/2014/main" id="{F68F0627-1870-4A95-B6B2-167DBDE5CB5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9864" y="3629009"/>
              <a:ext cx="271466" cy="529187"/>
              <a:chOff x="2389465" y="1817499"/>
              <a:chExt cx="321335" cy="626400"/>
            </a:xfrm>
          </p:grpSpPr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1B6726F9-8676-4B76-9FD5-00199372E406}"/>
                  </a:ext>
                </a:extLst>
              </p:cNvPr>
              <p:cNvSpPr/>
              <p:nvPr/>
            </p:nvSpPr>
            <p:spPr>
              <a:xfrm>
                <a:off x="2563032" y="1817499"/>
                <a:ext cx="142945" cy="208025"/>
              </a:xfrm>
              <a:custGeom>
                <a:avLst/>
                <a:gdLst>
                  <a:gd name="connsiteX0" fmla="*/ 143119 w 142944"/>
                  <a:gd name="connsiteY0" fmla="*/ 208548 h 208025"/>
                  <a:gd name="connsiteX1" fmla="*/ 0 w 142944"/>
                  <a:gd name="connsiteY1" fmla="*/ 52820 h 208025"/>
                  <a:gd name="connsiteX2" fmla="*/ 0 w 142944"/>
                  <a:gd name="connsiteY2" fmla="*/ 0 h 208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944" h="208025">
                    <a:moveTo>
                      <a:pt x="143119" y="208548"/>
                    </a:moveTo>
                    <a:cubicBezTo>
                      <a:pt x="143119" y="126558"/>
                      <a:pt x="80130" y="59444"/>
                      <a:pt x="0" y="52820"/>
                    </a:cubicBez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9" name="Forme libre : forme 18">
                <a:extLst>
                  <a:ext uri="{FF2B5EF4-FFF2-40B4-BE49-F238E27FC236}">
                    <a16:creationId xmlns:a16="http://schemas.microsoft.com/office/drawing/2014/main" id="{61BF2547-FB75-4BE6-9CF6-6DBD6E7B4EDC}"/>
                  </a:ext>
                </a:extLst>
              </p:cNvPr>
              <p:cNvSpPr/>
              <p:nvPr/>
            </p:nvSpPr>
            <p:spPr>
              <a:xfrm>
                <a:off x="2393823" y="1817499"/>
                <a:ext cx="259741" cy="521225"/>
              </a:xfrm>
              <a:custGeom>
                <a:avLst/>
                <a:gdLst>
                  <a:gd name="connsiteX0" fmla="*/ 143119 w 259740"/>
                  <a:gd name="connsiteY0" fmla="*/ 0 h 521225"/>
                  <a:gd name="connsiteX1" fmla="*/ 143119 w 259740"/>
                  <a:gd name="connsiteY1" fmla="*/ 52820 h 521225"/>
                  <a:gd name="connsiteX2" fmla="*/ 0 w 259740"/>
                  <a:gd name="connsiteY2" fmla="*/ 208548 h 521225"/>
                  <a:gd name="connsiteX3" fmla="*/ 156135 w 259740"/>
                  <a:gd name="connsiteY3" fmla="*/ 365264 h 521225"/>
                  <a:gd name="connsiteX4" fmla="*/ 208141 w 259740"/>
                  <a:gd name="connsiteY4" fmla="*/ 417561 h 521225"/>
                  <a:gd name="connsiteX5" fmla="*/ 156135 w 259740"/>
                  <a:gd name="connsiteY5" fmla="*/ 469568 h 521225"/>
                  <a:gd name="connsiteX6" fmla="*/ 104129 w 259740"/>
                  <a:gd name="connsiteY6" fmla="*/ 417561 h 521225"/>
                  <a:gd name="connsiteX7" fmla="*/ 52181 w 259740"/>
                  <a:gd name="connsiteY7" fmla="*/ 417503 h 521225"/>
                  <a:gd name="connsiteX8" fmla="*/ 156135 w 259740"/>
                  <a:gd name="connsiteY8" fmla="*/ 521458 h 521225"/>
                  <a:gd name="connsiteX9" fmla="*/ 260090 w 259740"/>
                  <a:gd name="connsiteY9" fmla="*/ 417503 h 521225"/>
                  <a:gd name="connsiteX10" fmla="*/ 156135 w 259740"/>
                  <a:gd name="connsiteY10" fmla="*/ 313142 h 521225"/>
                  <a:gd name="connsiteX11" fmla="*/ 52181 w 259740"/>
                  <a:gd name="connsiteY11" fmla="*/ 208781 h 521225"/>
                  <a:gd name="connsiteX12" fmla="*/ 156135 w 259740"/>
                  <a:gd name="connsiteY12" fmla="*/ 104826 h 521225"/>
                  <a:gd name="connsiteX13" fmla="*/ 260090 w 259740"/>
                  <a:gd name="connsiteY13" fmla="*/ 208781 h 521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9740" h="521225">
                    <a:moveTo>
                      <a:pt x="143119" y="0"/>
                    </a:moveTo>
                    <a:lnTo>
                      <a:pt x="143119" y="52820"/>
                    </a:lnTo>
                    <a:cubicBezTo>
                      <a:pt x="62989" y="59444"/>
                      <a:pt x="0" y="126558"/>
                      <a:pt x="0" y="208548"/>
                    </a:cubicBezTo>
                    <a:cubicBezTo>
                      <a:pt x="0" y="294896"/>
                      <a:pt x="69903" y="365264"/>
                      <a:pt x="156135" y="365264"/>
                    </a:cubicBezTo>
                    <a:cubicBezTo>
                      <a:pt x="184840" y="365264"/>
                      <a:pt x="208141" y="388856"/>
                      <a:pt x="208141" y="417561"/>
                    </a:cubicBezTo>
                    <a:cubicBezTo>
                      <a:pt x="208141" y="446266"/>
                      <a:pt x="184840" y="469568"/>
                      <a:pt x="156135" y="469568"/>
                    </a:cubicBezTo>
                    <a:cubicBezTo>
                      <a:pt x="127430" y="469568"/>
                      <a:pt x="104129" y="446325"/>
                      <a:pt x="104129" y="417561"/>
                    </a:cubicBezTo>
                    <a:moveTo>
                      <a:pt x="52181" y="417503"/>
                    </a:moveTo>
                    <a:cubicBezTo>
                      <a:pt x="52181" y="474913"/>
                      <a:pt x="98725" y="521458"/>
                      <a:pt x="156135" y="521458"/>
                    </a:cubicBezTo>
                    <a:cubicBezTo>
                      <a:pt x="213545" y="521458"/>
                      <a:pt x="260090" y="474913"/>
                      <a:pt x="260090" y="417503"/>
                    </a:cubicBezTo>
                    <a:cubicBezTo>
                      <a:pt x="260090" y="360093"/>
                      <a:pt x="213545" y="313142"/>
                      <a:pt x="156135" y="313142"/>
                    </a:cubicBezTo>
                    <a:cubicBezTo>
                      <a:pt x="98725" y="313142"/>
                      <a:pt x="52181" y="266191"/>
                      <a:pt x="52181" y="208781"/>
                    </a:cubicBezTo>
                    <a:cubicBezTo>
                      <a:pt x="52181" y="151370"/>
                      <a:pt x="98725" y="104826"/>
                      <a:pt x="156135" y="104826"/>
                    </a:cubicBezTo>
                    <a:cubicBezTo>
                      <a:pt x="213545" y="104826"/>
                      <a:pt x="260090" y="151370"/>
                      <a:pt x="260090" y="208781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0" name="Forme libre : forme 19">
                <a:extLst>
                  <a:ext uri="{FF2B5EF4-FFF2-40B4-BE49-F238E27FC236}">
                    <a16:creationId xmlns:a16="http://schemas.microsoft.com/office/drawing/2014/main" id="{FCF65F57-5AF9-4FCE-BE84-684E7172D54F}"/>
                  </a:ext>
                </a:extLst>
              </p:cNvPr>
              <p:cNvSpPr/>
              <p:nvPr/>
            </p:nvSpPr>
            <p:spPr>
              <a:xfrm>
                <a:off x="2393823" y="1974273"/>
                <a:ext cx="312038" cy="469509"/>
              </a:xfrm>
              <a:custGeom>
                <a:avLst/>
                <a:gdLst>
                  <a:gd name="connsiteX0" fmla="*/ 0 w 312037"/>
                  <a:gd name="connsiteY0" fmla="*/ 261019 h 469509"/>
                  <a:gd name="connsiteX1" fmla="*/ 143119 w 312037"/>
                  <a:gd name="connsiteY1" fmla="*/ 416748 h 469509"/>
                  <a:gd name="connsiteX2" fmla="*/ 143119 w 312037"/>
                  <a:gd name="connsiteY2" fmla="*/ 469568 h 469509"/>
                  <a:gd name="connsiteX3" fmla="*/ 169151 w 312037"/>
                  <a:gd name="connsiteY3" fmla="*/ 469510 h 469509"/>
                  <a:gd name="connsiteX4" fmla="*/ 169151 w 312037"/>
                  <a:gd name="connsiteY4" fmla="*/ 416748 h 469509"/>
                  <a:gd name="connsiteX5" fmla="*/ 312328 w 312037"/>
                  <a:gd name="connsiteY5" fmla="*/ 261019 h 469509"/>
                  <a:gd name="connsiteX6" fmla="*/ 156193 w 312037"/>
                  <a:gd name="connsiteY6" fmla="*/ 104303 h 469509"/>
                  <a:gd name="connsiteX7" fmla="*/ 104187 w 312037"/>
                  <a:gd name="connsiteY7" fmla="*/ 52006 h 469509"/>
                  <a:gd name="connsiteX8" fmla="*/ 156193 w 312037"/>
                  <a:gd name="connsiteY8" fmla="*/ 0 h 469509"/>
                  <a:gd name="connsiteX9" fmla="*/ 208200 w 312037"/>
                  <a:gd name="connsiteY9" fmla="*/ 52006 h 469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2037" h="469509">
                    <a:moveTo>
                      <a:pt x="0" y="261019"/>
                    </a:moveTo>
                    <a:cubicBezTo>
                      <a:pt x="0" y="343009"/>
                      <a:pt x="62989" y="410123"/>
                      <a:pt x="143119" y="416748"/>
                    </a:cubicBezTo>
                    <a:lnTo>
                      <a:pt x="143119" y="469568"/>
                    </a:lnTo>
                    <a:moveTo>
                      <a:pt x="169151" y="469510"/>
                    </a:moveTo>
                    <a:lnTo>
                      <a:pt x="169151" y="416748"/>
                    </a:lnTo>
                    <a:cubicBezTo>
                      <a:pt x="249282" y="410065"/>
                      <a:pt x="312328" y="342951"/>
                      <a:pt x="312328" y="261019"/>
                    </a:cubicBezTo>
                    <a:cubicBezTo>
                      <a:pt x="312328" y="174613"/>
                      <a:pt x="242425" y="104303"/>
                      <a:pt x="156193" y="104303"/>
                    </a:cubicBezTo>
                    <a:cubicBezTo>
                      <a:pt x="127488" y="104303"/>
                      <a:pt x="104187" y="80711"/>
                      <a:pt x="104187" y="52006"/>
                    </a:cubicBezTo>
                    <a:cubicBezTo>
                      <a:pt x="104187" y="23301"/>
                      <a:pt x="127488" y="0"/>
                      <a:pt x="156193" y="0"/>
                    </a:cubicBezTo>
                    <a:cubicBezTo>
                      <a:pt x="184898" y="0"/>
                      <a:pt x="208200" y="23301"/>
                      <a:pt x="208200" y="52006"/>
                    </a:cubicBezTo>
                  </a:path>
                </a:pathLst>
              </a:custGeom>
              <a:noFill/>
              <a:ln w="12700" cap="flat">
                <a:solidFill>
                  <a:srgbClr val="32B4B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ED32E2FD-A937-4619-8501-FC4F3A8E0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138" y="1342550"/>
            <a:ext cx="3416400" cy="1977905"/>
          </a:xfrm>
          <a:prstGeom prst="rect">
            <a:avLst/>
          </a:prstGeom>
          <a:noFill/>
          <a:effectLst/>
        </p:spPr>
        <p:txBody>
          <a:bodyPr vert="horz" lIns="0" tIns="198000" rIns="0" bIns="0">
            <a:noAutofit/>
          </a:bodyPr>
          <a:lstStyle>
            <a:lvl1pPr marL="180000" indent="-180000">
              <a:spcBef>
                <a:spcPts val="32"/>
              </a:spcBef>
              <a:buSzPct val="100000"/>
              <a:buFontTx/>
              <a:buBlip>
                <a:blip r:embed="rId2"/>
              </a:buBlip>
              <a:defRPr sz="2000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spcBef>
                <a:spcPts val="400"/>
              </a:spcBef>
              <a:buFont typeface="Arial"/>
              <a:buNone/>
              <a:defRPr lang="en-US" sz="1867" b="1" kern="12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80000" indent="0">
              <a:spcBef>
                <a:spcPts val="400"/>
              </a:spcBef>
              <a:buNone/>
              <a:def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en-US" noProof="0" dirty="0"/>
              <a:t>#number</a:t>
            </a:r>
          </a:p>
          <a:p>
            <a:pPr lvl="1"/>
            <a:r>
              <a:rPr lang="en-US" noProof="0" dirty="0"/>
              <a:t>Title </a:t>
            </a:r>
          </a:p>
          <a:p>
            <a:pPr lvl="2"/>
            <a:r>
              <a:rPr lang="en-US" noProof="0" dirty="0"/>
              <a:t>Subtitle</a:t>
            </a:r>
          </a:p>
        </p:txBody>
      </p:sp>
      <p:sp>
        <p:nvSpPr>
          <p:cNvPr id="29" name="Titre 28">
            <a:extLst>
              <a:ext uri="{FF2B5EF4-FFF2-40B4-BE49-F238E27FC236}">
                <a16:creationId xmlns:a16="http://schemas.microsoft.com/office/drawing/2014/main" id="{DE8B432B-C054-482F-82FD-279A5028F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46" name="Text Placeholder 31">
            <a:extLst>
              <a:ext uri="{FF2B5EF4-FFF2-40B4-BE49-F238E27FC236}">
                <a16:creationId xmlns:a16="http://schemas.microsoft.com/office/drawing/2014/main" id="{0E0E3288-C923-4B4A-BC74-59615D99C9A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88978" y="1342550"/>
            <a:ext cx="3416400" cy="1977905"/>
          </a:xfrm>
          <a:prstGeom prst="rect">
            <a:avLst/>
          </a:prstGeom>
          <a:noFill/>
          <a:effectLst/>
        </p:spPr>
        <p:txBody>
          <a:bodyPr vert="horz" lIns="0" tIns="198000" rIns="0" bIns="0">
            <a:noAutofit/>
          </a:bodyPr>
          <a:lstStyle>
            <a:lvl1pPr marL="180000" indent="-180000">
              <a:spcBef>
                <a:spcPts val="32"/>
              </a:spcBef>
              <a:buSzPct val="100000"/>
              <a:buFontTx/>
              <a:buBlip>
                <a:blip r:embed="rId2"/>
              </a:buBlip>
              <a:defRPr sz="2000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spcBef>
                <a:spcPts val="400"/>
              </a:spcBef>
              <a:buFont typeface="Arial"/>
              <a:buNone/>
              <a:defRPr lang="en-US" sz="1867" b="1" kern="12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80000" indent="0">
              <a:spcBef>
                <a:spcPts val="400"/>
              </a:spcBef>
              <a:buNone/>
              <a:def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en-US" noProof="0" dirty="0"/>
              <a:t>#number</a:t>
            </a:r>
          </a:p>
          <a:p>
            <a:pPr lvl="1"/>
            <a:r>
              <a:rPr lang="en-US" noProof="0" dirty="0"/>
              <a:t>Title </a:t>
            </a:r>
          </a:p>
          <a:p>
            <a:pPr lvl="2"/>
            <a:r>
              <a:rPr lang="en-US" noProof="0" dirty="0"/>
              <a:t>Subtitle</a:t>
            </a:r>
          </a:p>
        </p:txBody>
      </p:sp>
      <p:sp>
        <p:nvSpPr>
          <p:cNvPr id="48" name="Text Placeholder 31">
            <a:extLst>
              <a:ext uri="{FF2B5EF4-FFF2-40B4-BE49-F238E27FC236}">
                <a16:creationId xmlns:a16="http://schemas.microsoft.com/office/drawing/2014/main" id="{BA860B23-5CEB-46DE-8DBB-487847751CD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263558" y="1342550"/>
            <a:ext cx="3416400" cy="1977905"/>
          </a:xfrm>
          <a:prstGeom prst="rect">
            <a:avLst/>
          </a:prstGeom>
          <a:noFill/>
          <a:effectLst/>
        </p:spPr>
        <p:txBody>
          <a:bodyPr vert="horz" lIns="0" tIns="198000" rIns="0" bIns="0">
            <a:noAutofit/>
          </a:bodyPr>
          <a:lstStyle>
            <a:lvl1pPr marL="180000" indent="-180000">
              <a:spcBef>
                <a:spcPts val="32"/>
              </a:spcBef>
              <a:buSzPct val="100000"/>
              <a:buFontTx/>
              <a:buBlip>
                <a:blip r:embed="rId2"/>
              </a:buBlip>
              <a:defRPr sz="2000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spcBef>
                <a:spcPts val="400"/>
              </a:spcBef>
              <a:buFont typeface="Arial"/>
              <a:buNone/>
              <a:defRPr lang="en-US" sz="1867" b="1" kern="12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80000" indent="0">
              <a:spcBef>
                <a:spcPts val="400"/>
              </a:spcBef>
              <a:buNone/>
              <a:def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en-US" noProof="0" dirty="0"/>
              <a:t>#number</a:t>
            </a:r>
          </a:p>
          <a:p>
            <a:pPr lvl="1"/>
            <a:r>
              <a:rPr lang="en-US" noProof="0" dirty="0"/>
              <a:t>Title </a:t>
            </a:r>
          </a:p>
          <a:p>
            <a:pPr lvl="2"/>
            <a:r>
              <a:rPr lang="en-US" noProof="0" dirty="0"/>
              <a:t>Subtitle</a:t>
            </a:r>
          </a:p>
        </p:txBody>
      </p:sp>
      <p:sp>
        <p:nvSpPr>
          <p:cNvPr id="50" name="Text Placeholder 31">
            <a:extLst>
              <a:ext uri="{FF2B5EF4-FFF2-40B4-BE49-F238E27FC236}">
                <a16:creationId xmlns:a16="http://schemas.microsoft.com/office/drawing/2014/main" id="{7F3A3A18-7B5D-44BB-9CE1-A32086BF835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38138" y="3550728"/>
            <a:ext cx="3416400" cy="1977905"/>
          </a:xfrm>
          <a:prstGeom prst="rect">
            <a:avLst/>
          </a:prstGeom>
          <a:noFill/>
          <a:effectLst/>
        </p:spPr>
        <p:txBody>
          <a:bodyPr vert="horz" lIns="0" tIns="198000" rIns="0" bIns="0">
            <a:noAutofit/>
          </a:bodyPr>
          <a:lstStyle>
            <a:lvl1pPr marL="180000" indent="-180000">
              <a:spcBef>
                <a:spcPts val="32"/>
              </a:spcBef>
              <a:buSzPct val="100000"/>
              <a:buFontTx/>
              <a:buBlip>
                <a:blip r:embed="rId2"/>
              </a:buBlip>
              <a:defRPr sz="2000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spcBef>
                <a:spcPts val="400"/>
              </a:spcBef>
              <a:buFont typeface="Arial"/>
              <a:buNone/>
              <a:defRPr lang="en-US" sz="1867" b="1" kern="12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80000" indent="0">
              <a:spcBef>
                <a:spcPts val="400"/>
              </a:spcBef>
              <a:buNone/>
              <a:def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en-US" noProof="0" dirty="0"/>
              <a:t>#number</a:t>
            </a:r>
          </a:p>
          <a:p>
            <a:pPr lvl="1"/>
            <a:r>
              <a:rPr lang="en-US" noProof="0" dirty="0"/>
              <a:t>Title </a:t>
            </a:r>
          </a:p>
          <a:p>
            <a:pPr lvl="2"/>
            <a:r>
              <a:rPr lang="en-US" noProof="0" dirty="0"/>
              <a:t>Subtitle</a:t>
            </a:r>
          </a:p>
        </p:txBody>
      </p:sp>
      <p:sp>
        <p:nvSpPr>
          <p:cNvPr id="52" name="Text Placeholder 31">
            <a:extLst>
              <a:ext uri="{FF2B5EF4-FFF2-40B4-BE49-F238E27FC236}">
                <a16:creationId xmlns:a16="http://schemas.microsoft.com/office/drawing/2014/main" id="{8897BC39-7502-4768-B810-E7B8DA1960A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188978" y="3550728"/>
            <a:ext cx="3416400" cy="1977905"/>
          </a:xfrm>
          <a:prstGeom prst="rect">
            <a:avLst/>
          </a:prstGeom>
          <a:noFill/>
          <a:effectLst/>
        </p:spPr>
        <p:txBody>
          <a:bodyPr vert="horz" lIns="0" tIns="198000" rIns="0" bIns="0">
            <a:noAutofit/>
          </a:bodyPr>
          <a:lstStyle>
            <a:lvl1pPr marL="180000" indent="-180000">
              <a:spcBef>
                <a:spcPts val="32"/>
              </a:spcBef>
              <a:buSzPct val="100000"/>
              <a:buFontTx/>
              <a:buBlip>
                <a:blip r:embed="rId2"/>
              </a:buBlip>
              <a:defRPr sz="2000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spcBef>
                <a:spcPts val="400"/>
              </a:spcBef>
              <a:buFont typeface="Arial"/>
              <a:buNone/>
              <a:defRPr lang="en-US" sz="1867" b="1" kern="12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80000" indent="0">
              <a:spcBef>
                <a:spcPts val="400"/>
              </a:spcBef>
              <a:buNone/>
              <a:def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en-US" noProof="0" dirty="0"/>
              <a:t>#number</a:t>
            </a:r>
          </a:p>
          <a:p>
            <a:pPr lvl="1"/>
            <a:r>
              <a:rPr lang="en-US" noProof="0" dirty="0"/>
              <a:t>Title </a:t>
            </a:r>
          </a:p>
          <a:p>
            <a:pPr lvl="2"/>
            <a:r>
              <a:rPr lang="en-US" noProof="0" dirty="0"/>
              <a:t>Subtitle</a:t>
            </a:r>
          </a:p>
        </p:txBody>
      </p:sp>
      <p:sp>
        <p:nvSpPr>
          <p:cNvPr id="54" name="Text Placeholder 31">
            <a:extLst>
              <a:ext uri="{FF2B5EF4-FFF2-40B4-BE49-F238E27FC236}">
                <a16:creationId xmlns:a16="http://schemas.microsoft.com/office/drawing/2014/main" id="{C2FE752F-0CB7-4192-AF9D-C7C6119C515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263558" y="3550728"/>
            <a:ext cx="3416400" cy="1977905"/>
          </a:xfrm>
          <a:prstGeom prst="rect">
            <a:avLst/>
          </a:prstGeom>
          <a:noFill/>
          <a:effectLst/>
        </p:spPr>
        <p:txBody>
          <a:bodyPr vert="horz" lIns="0" tIns="198000" rIns="0" bIns="0">
            <a:noAutofit/>
          </a:bodyPr>
          <a:lstStyle>
            <a:lvl1pPr marL="180000" indent="-180000">
              <a:spcBef>
                <a:spcPts val="32"/>
              </a:spcBef>
              <a:buSzPct val="100000"/>
              <a:buFontTx/>
              <a:buBlip>
                <a:blip r:embed="rId2"/>
              </a:buBlip>
              <a:defRPr sz="2000" baseline="0">
                <a:solidFill>
                  <a:schemeClr val="accent1"/>
                </a:solidFill>
                <a:latin typeface="+mj-lt"/>
              </a:defRPr>
            </a:lvl1pPr>
            <a:lvl2pPr marL="180000" indent="0">
              <a:spcBef>
                <a:spcPts val="400"/>
              </a:spcBef>
              <a:buFont typeface="Arial"/>
              <a:buNone/>
              <a:defRPr lang="en-US" sz="1867" b="1" kern="12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80000" indent="0">
              <a:spcBef>
                <a:spcPts val="400"/>
              </a:spcBef>
              <a:buNone/>
              <a:def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en-US" noProof="0" dirty="0"/>
              <a:t>#number</a:t>
            </a:r>
          </a:p>
          <a:p>
            <a:pPr lvl="1"/>
            <a:r>
              <a:rPr lang="en-US" noProof="0" dirty="0"/>
              <a:t>Title </a:t>
            </a:r>
          </a:p>
          <a:p>
            <a:pPr lvl="2"/>
            <a:r>
              <a:rPr lang="en-US" noProof="0" dirty="0"/>
              <a:t>Subtitl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92CA21C7-CD92-4DCF-AD62-5110822E84A7}"/>
              </a:ext>
            </a:extLst>
          </p:cNvPr>
          <p:cNvSpPr>
            <a:spLocks noGrp="1"/>
          </p:cNvSpPr>
          <p:nvPr>
            <p:ph type="dt" sz="half" idx="63"/>
          </p:nvPr>
        </p:nvSpPr>
        <p:spPr/>
        <p:txBody>
          <a:bodyPr/>
          <a:lstStyle/>
          <a:p>
            <a:fld id="{DCD8DB9B-EFB3-416E-A85E-F344B04A56A0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300E229-8B22-411D-BA9A-62C290E72EBD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/>
        <p:txBody>
          <a:bodyPr/>
          <a:lstStyle/>
          <a:p>
            <a:r>
              <a:rPr lang="en-US" dirty="0"/>
              <a:t>| Title of document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C4AA3AD-D64D-4638-A8CD-7D6684C575C8}"/>
              </a:ext>
            </a:extLst>
          </p:cNvPr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1" name="Group 6">
            <a:extLst>
              <a:ext uri="{FF2B5EF4-FFF2-40B4-BE49-F238E27FC236}">
                <a16:creationId xmlns:a16="http://schemas.microsoft.com/office/drawing/2014/main" id="{990458D6-398D-46CE-A1AA-ACBF06E7D02E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CFEEE329-1A39-4C51-9833-0A77D16CA0F6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023E975A-2BD2-4B67-80B0-C305FD02A8A0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64B3FCB8-A6F2-4176-B817-E55841DE7C7A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AB426090-AC80-4241-8485-E10EA7765E8C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F29AFA6B-6C8A-4BFC-8145-935CB5EAADC2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302825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66BC4245-BA03-49A0-8F2A-4197AD36B856}"/>
              </a:ext>
            </a:extLst>
          </p:cNvPr>
          <p:cNvGrpSpPr/>
          <p:nvPr/>
        </p:nvGrpSpPr>
        <p:grpSpPr>
          <a:xfrm>
            <a:off x="8210465" y="4344970"/>
            <a:ext cx="2732617" cy="690033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AEC613C9-40A6-430C-89CB-CFA7CDA5D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>
                <a:solidFill>
                  <a:schemeClr val="tx2"/>
                </a:solidFill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98EC34D1-2096-487D-8C79-19B26B139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>
                <a:solidFill>
                  <a:schemeClr val="tx2"/>
                </a:solidFill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D27E053C-E8AF-454E-A8C4-68F1484683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>
                <a:solidFill>
                  <a:schemeClr val="tx2"/>
                </a:solidFill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918F532F-621F-4704-B781-E8229AF3B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>
                <a:solidFill>
                  <a:schemeClr val="tx2"/>
                </a:solidFill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183D7BCA-4B96-4452-BAC1-31240E14D6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noProof="0" dirty="0">
                <a:solidFill>
                  <a:schemeClr val="tx2"/>
                </a:solidFill>
              </a:endParaRPr>
            </a:p>
          </p:txBody>
        </p:sp>
      </p:grpSp>
      <p:sp>
        <p:nvSpPr>
          <p:cNvPr id="100" name="Text Placeholder 3">
            <a:extLst>
              <a:ext uri="{FF2B5EF4-FFF2-40B4-BE49-F238E27FC236}">
                <a16:creationId xmlns:a16="http://schemas.microsoft.com/office/drawing/2014/main" id="{07450D3B-EC70-4364-BB30-3B2CE89BFD0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11396" y="1943763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>
                <a:solidFill>
                  <a:schemeClr val="accent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First name NAME</a:t>
            </a:r>
          </a:p>
        </p:txBody>
      </p:sp>
      <p:sp>
        <p:nvSpPr>
          <p:cNvPr id="101" name="Text Placeholder 3">
            <a:extLst>
              <a:ext uri="{FF2B5EF4-FFF2-40B4-BE49-F238E27FC236}">
                <a16:creationId xmlns:a16="http://schemas.microsoft.com/office/drawing/2014/main" id="{5F1D26DD-44E7-433E-808D-421951D360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11396" y="2163219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accent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Job Title / Service</a:t>
            </a:r>
          </a:p>
        </p:txBody>
      </p:sp>
      <p:sp>
        <p:nvSpPr>
          <p:cNvPr id="102" name="Text Placeholder 3">
            <a:extLst>
              <a:ext uri="{FF2B5EF4-FFF2-40B4-BE49-F238E27FC236}">
                <a16:creationId xmlns:a16="http://schemas.microsoft.com/office/drawing/2014/main" id="{9DB4A80A-3E62-449A-947C-1A1D6F3D02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711396" y="2394867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accent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03" name="Text Placeholder 3">
            <a:extLst>
              <a:ext uri="{FF2B5EF4-FFF2-40B4-BE49-F238E27FC236}">
                <a16:creationId xmlns:a16="http://schemas.microsoft.com/office/drawing/2014/main" id="{FE3637C7-EEAB-4DFD-B6C3-78AEF0139B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11396" y="2736243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accent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firstname.lastname@idemia.com</a:t>
            </a:r>
          </a:p>
        </p:txBody>
      </p:sp>
      <p:sp>
        <p:nvSpPr>
          <p:cNvPr id="104" name="Text Placeholder 3">
            <a:extLst>
              <a:ext uri="{FF2B5EF4-FFF2-40B4-BE49-F238E27FC236}">
                <a16:creationId xmlns:a16="http://schemas.microsoft.com/office/drawing/2014/main" id="{638896C9-6B76-4FB7-9297-9E523CE808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396" y="3065427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accent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P. +33 (0) 00 00 00 00</a:t>
            </a:r>
          </a:p>
        </p:txBody>
      </p:sp>
      <p:sp>
        <p:nvSpPr>
          <p:cNvPr id="105" name="Text Placeholder 3">
            <a:extLst>
              <a:ext uri="{FF2B5EF4-FFF2-40B4-BE49-F238E27FC236}">
                <a16:creationId xmlns:a16="http://schemas.microsoft.com/office/drawing/2014/main" id="{F7CEB460-A4BC-47D4-928D-B0C56B4D58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11396" y="3309267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accent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M. +33 (0) 00 00 00 00</a:t>
            </a: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0C5887BC-1460-4F11-9511-363049C4C8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11396" y="3553107"/>
            <a:ext cx="3755136" cy="184602"/>
          </a:xfrm>
          <a:noFill/>
          <a:effectLst/>
        </p:spPr>
        <p:txBody>
          <a:bodyPr lIns="0" tIns="0" rIns="0" bIns="0" anchor="ctr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333" b="0">
                <a:solidFill>
                  <a:schemeClr val="accent1"/>
                </a:solidFill>
              </a:defRPr>
            </a:lvl1pPr>
            <a:lvl2pPr marL="170684" indent="0" algn="ctr">
              <a:buNone/>
              <a:defRPr sz="1333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F. +33 (0) 00 00 00 00</a:t>
            </a:r>
          </a:p>
        </p:txBody>
      </p:sp>
      <p:sp>
        <p:nvSpPr>
          <p:cNvPr id="96" name="Forme libre : forme 95">
            <a:extLst>
              <a:ext uri="{FF2B5EF4-FFF2-40B4-BE49-F238E27FC236}">
                <a16:creationId xmlns:a16="http://schemas.microsoft.com/office/drawing/2014/main" id="{3B8C46DD-6C64-4A9A-992A-9A7CCF117E88}"/>
              </a:ext>
            </a:extLst>
          </p:cNvPr>
          <p:cNvSpPr/>
          <p:nvPr userDrawn="1"/>
        </p:nvSpPr>
        <p:spPr>
          <a:xfrm>
            <a:off x="5347946" y="0"/>
            <a:ext cx="1740267" cy="6858000"/>
          </a:xfrm>
          <a:custGeom>
            <a:avLst/>
            <a:gdLst>
              <a:gd name="connsiteX0" fmla="*/ 4029 w 1740267"/>
              <a:gd name="connsiteY0" fmla="*/ 0 h 6858000"/>
              <a:gd name="connsiteX1" fmla="*/ 75612 w 1740267"/>
              <a:gd name="connsiteY1" fmla="*/ 0 h 6858000"/>
              <a:gd name="connsiteX2" fmla="*/ 1733100 w 1740267"/>
              <a:gd name="connsiteY2" fmla="*/ 3420921 h 6858000"/>
              <a:gd name="connsiteX3" fmla="*/ 1740267 w 1740267"/>
              <a:gd name="connsiteY3" fmla="*/ 3434539 h 6858000"/>
              <a:gd name="connsiteX4" fmla="*/ 1740267 w 1740267"/>
              <a:gd name="connsiteY4" fmla="*/ 3434545 h 6858000"/>
              <a:gd name="connsiteX5" fmla="*/ 71685 w 1740267"/>
              <a:gd name="connsiteY5" fmla="*/ 6858000 h 6858000"/>
              <a:gd name="connsiteX6" fmla="*/ 0 w 1740267"/>
              <a:gd name="connsiteY6" fmla="*/ 6858000 h 6858000"/>
              <a:gd name="connsiteX7" fmla="*/ 1668583 w 1740267"/>
              <a:gd name="connsiteY7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40267" h="6858000">
                <a:moveTo>
                  <a:pt x="4029" y="0"/>
                </a:moveTo>
                <a:lnTo>
                  <a:pt x="75612" y="0"/>
                </a:lnTo>
                <a:lnTo>
                  <a:pt x="1733100" y="3420921"/>
                </a:lnTo>
                <a:lnTo>
                  <a:pt x="1740267" y="3434539"/>
                </a:lnTo>
                <a:lnTo>
                  <a:pt x="1740267" y="3434545"/>
                </a:lnTo>
                <a:lnTo>
                  <a:pt x="71685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rgbClr val="4B00B0">
                  <a:alpha val="94000"/>
                </a:srgb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4" name="Forme libre : forme 93">
            <a:extLst>
              <a:ext uri="{FF2B5EF4-FFF2-40B4-BE49-F238E27FC236}">
                <a16:creationId xmlns:a16="http://schemas.microsoft.com/office/drawing/2014/main" id="{4CAC1A76-E961-447F-B261-F4C6E6021775}"/>
              </a:ext>
            </a:extLst>
          </p:cNvPr>
          <p:cNvSpPr/>
          <p:nvPr userDrawn="1"/>
        </p:nvSpPr>
        <p:spPr>
          <a:xfrm>
            <a:off x="4905450" y="0"/>
            <a:ext cx="1780385" cy="6858000"/>
          </a:xfrm>
          <a:custGeom>
            <a:avLst/>
            <a:gdLst>
              <a:gd name="connsiteX0" fmla="*/ 4129 w 1780385"/>
              <a:gd name="connsiteY0" fmla="*/ 0 h 6858000"/>
              <a:gd name="connsiteX1" fmla="*/ 115901 w 1780385"/>
              <a:gd name="connsiteY1" fmla="*/ 0 h 6858000"/>
              <a:gd name="connsiteX2" fmla="*/ 1770349 w 1780385"/>
              <a:gd name="connsiteY2" fmla="*/ 3413036 h 6858000"/>
              <a:gd name="connsiteX3" fmla="*/ 1780385 w 1780385"/>
              <a:gd name="connsiteY3" fmla="*/ 3434542 h 6858000"/>
              <a:gd name="connsiteX4" fmla="*/ 111802 w 1780385"/>
              <a:gd name="connsiteY4" fmla="*/ 6858000 h 6858000"/>
              <a:gd name="connsiteX5" fmla="*/ 0 w 1780385"/>
              <a:gd name="connsiteY5" fmla="*/ 6858000 h 6858000"/>
              <a:gd name="connsiteX6" fmla="*/ 1669273 w 1780385"/>
              <a:gd name="connsiteY6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0385" h="6858000">
                <a:moveTo>
                  <a:pt x="4129" y="0"/>
                </a:moveTo>
                <a:lnTo>
                  <a:pt x="115901" y="0"/>
                </a:lnTo>
                <a:lnTo>
                  <a:pt x="1770349" y="3413036"/>
                </a:lnTo>
                <a:lnTo>
                  <a:pt x="1780385" y="3434542"/>
                </a:lnTo>
                <a:lnTo>
                  <a:pt x="111802" y="6858000"/>
                </a:lnTo>
                <a:lnTo>
                  <a:pt x="0" y="6858000"/>
                </a:lnTo>
                <a:lnTo>
                  <a:pt x="166927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rgbClr val="4B00B0">
                  <a:alpha val="94000"/>
                </a:srgb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2" name="Forme libre : forme 91">
            <a:extLst>
              <a:ext uri="{FF2B5EF4-FFF2-40B4-BE49-F238E27FC236}">
                <a16:creationId xmlns:a16="http://schemas.microsoft.com/office/drawing/2014/main" id="{F53B7F54-F668-4932-8716-5F7CB4DED843}"/>
              </a:ext>
            </a:extLst>
          </p:cNvPr>
          <p:cNvSpPr/>
          <p:nvPr userDrawn="1"/>
        </p:nvSpPr>
        <p:spPr>
          <a:xfrm>
            <a:off x="4394048" y="0"/>
            <a:ext cx="1852097" cy="6858000"/>
          </a:xfrm>
          <a:custGeom>
            <a:avLst/>
            <a:gdLst>
              <a:gd name="connsiteX0" fmla="*/ 4029 w 1852097"/>
              <a:gd name="connsiteY0" fmla="*/ 0 h 6858000"/>
              <a:gd name="connsiteX1" fmla="*/ 187573 w 1852097"/>
              <a:gd name="connsiteY1" fmla="*/ 0 h 6858000"/>
              <a:gd name="connsiteX2" fmla="*/ 1834893 w 1852097"/>
              <a:gd name="connsiteY2" fmla="*/ 3398698 h 6858000"/>
              <a:gd name="connsiteX3" fmla="*/ 1852097 w 1852097"/>
              <a:gd name="connsiteY3" fmla="*/ 3434542 h 6858000"/>
              <a:gd name="connsiteX4" fmla="*/ 183514 w 1852097"/>
              <a:gd name="connsiteY4" fmla="*/ 6858000 h 6858000"/>
              <a:gd name="connsiteX5" fmla="*/ 0 w 1852097"/>
              <a:gd name="connsiteY5" fmla="*/ 6858000 h 6858000"/>
              <a:gd name="connsiteX6" fmla="*/ 1668583 w 1852097"/>
              <a:gd name="connsiteY6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2097" h="6858000">
                <a:moveTo>
                  <a:pt x="4029" y="0"/>
                </a:moveTo>
                <a:lnTo>
                  <a:pt x="187573" y="0"/>
                </a:lnTo>
                <a:lnTo>
                  <a:pt x="1834893" y="3398698"/>
                </a:lnTo>
                <a:lnTo>
                  <a:pt x="1852097" y="3434542"/>
                </a:lnTo>
                <a:lnTo>
                  <a:pt x="183514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rgbClr val="4B00B0">
                  <a:alpha val="94000"/>
                </a:srgb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0" name="Forme libre : forme 89">
            <a:extLst>
              <a:ext uri="{FF2B5EF4-FFF2-40B4-BE49-F238E27FC236}">
                <a16:creationId xmlns:a16="http://schemas.microsoft.com/office/drawing/2014/main" id="{10E7791D-3455-4997-BCA3-D23E5346308F}"/>
              </a:ext>
            </a:extLst>
          </p:cNvPr>
          <p:cNvSpPr/>
          <p:nvPr userDrawn="1"/>
        </p:nvSpPr>
        <p:spPr>
          <a:xfrm>
            <a:off x="3887350" y="0"/>
            <a:ext cx="1900101" cy="6858000"/>
          </a:xfrm>
          <a:custGeom>
            <a:avLst/>
            <a:gdLst>
              <a:gd name="connsiteX0" fmla="*/ 4131 w 1900101"/>
              <a:gd name="connsiteY0" fmla="*/ 0 h 6858000"/>
              <a:gd name="connsiteX1" fmla="*/ 234959 w 1900101"/>
              <a:gd name="connsiteY1" fmla="*/ 0 h 6858000"/>
              <a:gd name="connsiteX2" fmla="*/ 1900101 w 1900101"/>
              <a:gd name="connsiteY2" fmla="*/ 3434542 h 6858000"/>
              <a:gd name="connsiteX3" fmla="*/ 231518 w 1900101"/>
              <a:gd name="connsiteY3" fmla="*/ 6858000 h 6858000"/>
              <a:gd name="connsiteX4" fmla="*/ 0 w 1900101"/>
              <a:gd name="connsiteY4" fmla="*/ 6858000 h 6858000"/>
              <a:gd name="connsiteX5" fmla="*/ 1669273 w 1900101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00101" h="6858000">
                <a:moveTo>
                  <a:pt x="4131" y="0"/>
                </a:moveTo>
                <a:lnTo>
                  <a:pt x="234959" y="0"/>
                </a:lnTo>
                <a:lnTo>
                  <a:pt x="1900101" y="3434542"/>
                </a:lnTo>
                <a:lnTo>
                  <a:pt x="231518" y="6858000"/>
                </a:lnTo>
                <a:lnTo>
                  <a:pt x="0" y="6858000"/>
                </a:lnTo>
                <a:lnTo>
                  <a:pt x="166927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rgbClr val="4B00B0">
                  <a:alpha val="94000"/>
                </a:srgb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8" name="Forme libre : forme 87">
            <a:extLst>
              <a:ext uri="{FF2B5EF4-FFF2-40B4-BE49-F238E27FC236}">
                <a16:creationId xmlns:a16="http://schemas.microsoft.com/office/drawing/2014/main" id="{80E58315-E253-4AA9-9E4D-C616B40B07C4}"/>
              </a:ext>
            </a:extLst>
          </p:cNvPr>
          <p:cNvSpPr/>
          <p:nvPr userDrawn="1"/>
        </p:nvSpPr>
        <p:spPr>
          <a:xfrm>
            <a:off x="3425409" y="0"/>
            <a:ext cx="1931668" cy="6858000"/>
          </a:xfrm>
          <a:custGeom>
            <a:avLst/>
            <a:gdLst>
              <a:gd name="connsiteX0" fmla="*/ 4029 w 1931668"/>
              <a:gd name="connsiteY0" fmla="*/ 0 h 6858000"/>
              <a:gd name="connsiteX1" fmla="*/ 266526 w 1931668"/>
              <a:gd name="connsiteY1" fmla="*/ 0 h 6858000"/>
              <a:gd name="connsiteX2" fmla="*/ 1931668 w 1931668"/>
              <a:gd name="connsiteY2" fmla="*/ 3434542 h 6858000"/>
              <a:gd name="connsiteX3" fmla="*/ 263085 w 1931668"/>
              <a:gd name="connsiteY3" fmla="*/ 6858000 h 6858000"/>
              <a:gd name="connsiteX4" fmla="*/ 0 w 1931668"/>
              <a:gd name="connsiteY4" fmla="*/ 6858000 h 6858000"/>
              <a:gd name="connsiteX5" fmla="*/ 1668582 w 1931668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1668" h="6858000">
                <a:moveTo>
                  <a:pt x="4029" y="0"/>
                </a:moveTo>
                <a:lnTo>
                  <a:pt x="266526" y="0"/>
                </a:lnTo>
                <a:lnTo>
                  <a:pt x="1931668" y="3434542"/>
                </a:lnTo>
                <a:lnTo>
                  <a:pt x="263085" y="6858000"/>
                </a:lnTo>
                <a:lnTo>
                  <a:pt x="0" y="6858000"/>
                </a:lnTo>
                <a:lnTo>
                  <a:pt x="1668582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rgbClr val="4B00B0">
                  <a:alpha val="94000"/>
                </a:srgb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6" name="Forme libre : forme 85">
            <a:extLst>
              <a:ext uri="{FF2B5EF4-FFF2-40B4-BE49-F238E27FC236}">
                <a16:creationId xmlns:a16="http://schemas.microsoft.com/office/drawing/2014/main" id="{346B61A9-6F0E-499F-B06F-A66380D08C98}"/>
              </a:ext>
            </a:extLst>
          </p:cNvPr>
          <p:cNvSpPr/>
          <p:nvPr userDrawn="1"/>
        </p:nvSpPr>
        <p:spPr>
          <a:xfrm>
            <a:off x="2922262" y="0"/>
            <a:ext cx="2003326" cy="6858000"/>
          </a:xfrm>
          <a:custGeom>
            <a:avLst/>
            <a:gdLst>
              <a:gd name="connsiteX0" fmla="*/ 4130 w 2003326"/>
              <a:gd name="connsiteY0" fmla="*/ 0 h 6858000"/>
              <a:gd name="connsiteX1" fmla="*/ 338772 w 2003326"/>
              <a:gd name="connsiteY1" fmla="*/ 0 h 6858000"/>
              <a:gd name="connsiteX2" fmla="*/ 2003326 w 2003326"/>
              <a:gd name="connsiteY2" fmla="*/ 3434542 h 6858000"/>
              <a:gd name="connsiteX3" fmla="*/ 334743 w 2003326"/>
              <a:gd name="connsiteY3" fmla="*/ 6858000 h 6858000"/>
              <a:gd name="connsiteX4" fmla="*/ 0 w 2003326"/>
              <a:gd name="connsiteY4" fmla="*/ 6858000 h 6858000"/>
              <a:gd name="connsiteX5" fmla="*/ 1669272 w 2003326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03326" h="6858000">
                <a:moveTo>
                  <a:pt x="4130" y="0"/>
                </a:moveTo>
                <a:lnTo>
                  <a:pt x="338772" y="0"/>
                </a:lnTo>
                <a:lnTo>
                  <a:pt x="2003326" y="3434542"/>
                </a:lnTo>
                <a:lnTo>
                  <a:pt x="334743" y="6858000"/>
                </a:lnTo>
                <a:lnTo>
                  <a:pt x="0" y="6858000"/>
                </a:lnTo>
                <a:lnTo>
                  <a:pt x="1669272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rgbClr val="4B00B0">
                  <a:alpha val="94000"/>
                </a:srgb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4" name="Forme libre : forme 83">
            <a:extLst>
              <a:ext uri="{FF2B5EF4-FFF2-40B4-BE49-F238E27FC236}">
                <a16:creationId xmlns:a16="http://schemas.microsoft.com/office/drawing/2014/main" id="{87BF12A4-17AC-4127-A836-ADB24269AA63}"/>
              </a:ext>
            </a:extLst>
          </p:cNvPr>
          <p:cNvSpPr/>
          <p:nvPr userDrawn="1"/>
        </p:nvSpPr>
        <p:spPr>
          <a:xfrm>
            <a:off x="2416135" y="0"/>
            <a:ext cx="2027727" cy="6858000"/>
          </a:xfrm>
          <a:custGeom>
            <a:avLst/>
            <a:gdLst>
              <a:gd name="connsiteX0" fmla="*/ 4029 w 2027727"/>
              <a:gd name="connsiteY0" fmla="*/ 0 h 6858000"/>
              <a:gd name="connsiteX1" fmla="*/ 362585 w 2027727"/>
              <a:gd name="connsiteY1" fmla="*/ 0 h 6858000"/>
              <a:gd name="connsiteX2" fmla="*/ 2027727 w 2027727"/>
              <a:gd name="connsiteY2" fmla="*/ 3434542 h 6858000"/>
              <a:gd name="connsiteX3" fmla="*/ 359144 w 2027727"/>
              <a:gd name="connsiteY3" fmla="*/ 6858000 h 6858000"/>
              <a:gd name="connsiteX4" fmla="*/ 0 w 2027727"/>
              <a:gd name="connsiteY4" fmla="*/ 6858000 h 6858000"/>
              <a:gd name="connsiteX5" fmla="*/ 1668583 w 2027727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27727" h="6858000">
                <a:moveTo>
                  <a:pt x="4029" y="0"/>
                </a:moveTo>
                <a:lnTo>
                  <a:pt x="362585" y="0"/>
                </a:lnTo>
                <a:lnTo>
                  <a:pt x="2027727" y="3434542"/>
                </a:lnTo>
                <a:lnTo>
                  <a:pt x="359144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rgbClr val="4B00B0">
                  <a:alpha val="94000"/>
                </a:srgb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2" name="Forme libre : forme 81">
            <a:extLst>
              <a:ext uri="{FF2B5EF4-FFF2-40B4-BE49-F238E27FC236}">
                <a16:creationId xmlns:a16="http://schemas.microsoft.com/office/drawing/2014/main" id="{419F93E8-D1ED-41B7-B4BB-1B4C77EE093D}"/>
              </a:ext>
            </a:extLst>
          </p:cNvPr>
          <p:cNvSpPr/>
          <p:nvPr userDrawn="1"/>
        </p:nvSpPr>
        <p:spPr>
          <a:xfrm>
            <a:off x="1905764" y="0"/>
            <a:ext cx="2059958" cy="6858000"/>
          </a:xfrm>
          <a:custGeom>
            <a:avLst/>
            <a:gdLst>
              <a:gd name="connsiteX0" fmla="*/ 4130 w 2059958"/>
              <a:gd name="connsiteY0" fmla="*/ 0 h 6858000"/>
              <a:gd name="connsiteX1" fmla="*/ 394815 w 2059958"/>
              <a:gd name="connsiteY1" fmla="*/ 0 h 6858000"/>
              <a:gd name="connsiteX2" fmla="*/ 2059958 w 2059958"/>
              <a:gd name="connsiteY2" fmla="*/ 3434542 h 6858000"/>
              <a:gd name="connsiteX3" fmla="*/ 391375 w 2059958"/>
              <a:gd name="connsiteY3" fmla="*/ 6858000 h 6858000"/>
              <a:gd name="connsiteX4" fmla="*/ 0 w 2059958"/>
              <a:gd name="connsiteY4" fmla="*/ 6858000 h 6858000"/>
              <a:gd name="connsiteX5" fmla="*/ 1669273 w 2059958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59958" h="6858000">
                <a:moveTo>
                  <a:pt x="4130" y="0"/>
                </a:moveTo>
                <a:lnTo>
                  <a:pt x="394815" y="0"/>
                </a:lnTo>
                <a:lnTo>
                  <a:pt x="2059958" y="3434542"/>
                </a:lnTo>
                <a:lnTo>
                  <a:pt x="391375" y="6858000"/>
                </a:lnTo>
                <a:lnTo>
                  <a:pt x="0" y="6858000"/>
                </a:lnTo>
                <a:lnTo>
                  <a:pt x="166927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rgbClr val="4B00B0">
                  <a:alpha val="94000"/>
                </a:srgb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9" name="Forme libre : forme 78">
            <a:extLst>
              <a:ext uri="{FF2B5EF4-FFF2-40B4-BE49-F238E27FC236}">
                <a16:creationId xmlns:a16="http://schemas.microsoft.com/office/drawing/2014/main" id="{0A70E80B-0D12-454A-9575-BBF5765833F5}"/>
              </a:ext>
            </a:extLst>
          </p:cNvPr>
          <p:cNvSpPr/>
          <p:nvPr userDrawn="1"/>
        </p:nvSpPr>
        <p:spPr>
          <a:xfrm>
            <a:off x="1388165" y="0"/>
            <a:ext cx="2107297" cy="6858000"/>
          </a:xfrm>
          <a:custGeom>
            <a:avLst/>
            <a:gdLst>
              <a:gd name="connsiteX0" fmla="*/ 4029 w 2107297"/>
              <a:gd name="connsiteY0" fmla="*/ 0 h 6858000"/>
              <a:gd name="connsiteX1" fmla="*/ 442155 w 2107297"/>
              <a:gd name="connsiteY1" fmla="*/ 0 h 6858000"/>
              <a:gd name="connsiteX2" fmla="*/ 2107297 w 2107297"/>
              <a:gd name="connsiteY2" fmla="*/ 3434542 h 6858000"/>
              <a:gd name="connsiteX3" fmla="*/ 438714 w 2107297"/>
              <a:gd name="connsiteY3" fmla="*/ 6858000 h 6858000"/>
              <a:gd name="connsiteX4" fmla="*/ 0 w 2107297"/>
              <a:gd name="connsiteY4" fmla="*/ 6858000 h 6858000"/>
              <a:gd name="connsiteX5" fmla="*/ 1668583 w 2107297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7297" h="6858000">
                <a:moveTo>
                  <a:pt x="4029" y="0"/>
                </a:moveTo>
                <a:lnTo>
                  <a:pt x="442155" y="0"/>
                </a:lnTo>
                <a:lnTo>
                  <a:pt x="2107297" y="3434542"/>
                </a:lnTo>
                <a:lnTo>
                  <a:pt x="438714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rgbClr val="4B00B0">
                  <a:alpha val="94000"/>
                </a:srgb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7" name="Forme libre : forme 76">
            <a:extLst>
              <a:ext uri="{FF2B5EF4-FFF2-40B4-BE49-F238E27FC236}">
                <a16:creationId xmlns:a16="http://schemas.microsoft.com/office/drawing/2014/main" id="{401F66A9-E363-4D8D-B2DE-FF7806308B51}"/>
              </a:ext>
            </a:extLst>
          </p:cNvPr>
          <p:cNvSpPr/>
          <p:nvPr userDrawn="1"/>
        </p:nvSpPr>
        <p:spPr>
          <a:xfrm>
            <a:off x="889952" y="0"/>
            <a:ext cx="2115183" cy="6858000"/>
          </a:xfrm>
          <a:custGeom>
            <a:avLst/>
            <a:gdLst>
              <a:gd name="connsiteX0" fmla="*/ 4030 w 2115183"/>
              <a:gd name="connsiteY0" fmla="*/ 0 h 6858000"/>
              <a:gd name="connsiteX1" fmla="*/ 450040 w 2115183"/>
              <a:gd name="connsiteY1" fmla="*/ 0 h 6858000"/>
              <a:gd name="connsiteX2" fmla="*/ 2115183 w 2115183"/>
              <a:gd name="connsiteY2" fmla="*/ 3434542 h 6858000"/>
              <a:gd name="connsiteX3" fmla="*/ 446600 w 2115183"/>
              <a:gd name="connsiteY3" fmla="*/ 6858000 h 6858000"/>
              <a:gd name="connsiteX4" fmla="*/ 0 w 2115183"/>
              <a:gd name="connsiteY4" fmla="*/ 6858000 h 6858000"/>
              <a:gd name="connsiteX5" fmla="*/ 1668583 w 2115183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5183" h="6858000">
                <a:moveTo>
                  <a:pt x="4030" y="0"/>
                </a:moveTo>
                <a:lnTo>
                  <a:pt x="450040" y="0"/>
                </a:lnTo>
                <a:lnTo>
                  <a:pt x="2115183" y="3434542"/>
                </a:lnTo>
                <a:lnTo>
                  <a:pt x="446600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rgbClr val="4B00B0">
                  <a:alpha val="94000"/>
                </a:srgb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5" name="Forme libre : forme 74">
            <a:extLst>
              <a:ext uri="{FF2B5EF4-FFF2-40B4-BE49-F238E27FC236}">
                <a16:creationId xmlns:a16="http://schemas.microsoft.com/office/drawing/2014/main" id="{0722EF03-FFCE-4322-9F5C-E23465D23A8E}"/>
              </a:ext>
            </a:extLst>
          </p:cNvPr>
          <p:cNvSpPr/>
          <p:nvPr userDrawn="1"/>
        </p:nvSpPr>
        <p:spPr>
          <a:xfrm>
            <a:off x="391739" y="0"/>
            <a:ext cx="2123068" cy="6858000"/>
          </a:xfrm>
          <a:custGeom>
            <a:avLst/>
            <a:gdLst>
              <a:gd name="connsiteX0" fmla="*/ 4030 w 2123068"/>
              <a:gd name="connsiteY0" fmla="*/ 0 h 6858000"/>
              <a:gd name="connsiteX1" fmla="*/ 457925 w 2123068"/>
              <a:gd name="connsiteY1" fmla="*/ 0 h 6858000"/>
              <a:gd name="connsiteX2" fmla="*/ 2123068 w 2123068"/>
              <a:gd name="connsiteY2" fmla="*/ 3434542 h 6858000"/>
              <a:gd name="connsiteX3" fmla="*/ 454485 w 2123068"/>
              <a:gd name="connsiteY3" fmla="*/ 6858000 h 6858000"/>
              <a:gd name="connsiteX4" fmla="*/ 0 w 2123068"/>
              <a:gd name="connsiteY4" fmla="*/ 6858000 h 6858000"/>
              <a:gd name="connsiteX5" fmla="*/ 1668583 w 2123068"/>
              <a:gd name="connsiteY5" fmla="*/ 34345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23068" h="6858000">
                <a:moveTo>
                  <a:pt x="4030" y="0"/>
                </a:moveTo>
                <a:lnTo>
                  <a:pt x="457925" y="0"/>
                </a:lnTo>
                <a:lnTo>
                  <a:pt x="2123068" y="3434542"/>
                </a:lnTo>
                <a:lnTo>
                  <a:pt x="454485" y="6858000"/>
                </a:lnTo>
                <a:lnTo>
                  <a:pt x="0" y="6858000"/>
                </a:lnTo>
                <a:lnTo>
                  <a:pt x="1668583" y="34345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rgbClr val="4B00B0">
                  <a:alpha val="94000"/>
                </a:srgb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3" name="Forme libre : forme 72">
            <a:extLst>
              <a:ext uri="{FF2B5EF4-FFF2-40B4-BE49-F238E27FC236}">
                <a16:creationId xmlns:a16="http://schemas.microsoft.com/office/drawing/2014/main" id="{5407E861-2D21-43F6-A07F-FF72EB97E232}"/>
              </a:ext>
            </a:extLst>
          </p:cNvPr>
          <p:cNvSpPr/>
          <p:nvPr userDrawn="1"/>
        </p:nvSpPr>
        <p:spPr>
          <a:xfrm>
            <a:off x="1" y="0"/>
            <a:ext cx="2016594" cy="6858000"/>
          </a:xfrm>
          <a:custGeom>
            <a:avLst/>
            <a:gdLst>
              <a:gd name="connsiteX0" fmla="*/ 0 w 2016594"/>
              <a:gd name="connsiteY0" fmla="*/ 0 h 6858000"/>
              <a:gd name="connsiteX1" fmla="*/ 351451 w 2016594"/>
              <a:gd name="connsiteY1" fmla="*/ 0 h 6858000"/>
              <a:gd name="connsiteX2" fmla="*/ 2016594 w 2016594"/>
              <a:gd name="connsiteY2" fmla="*/ 3434542 h 6858000"/>
              <a:gd name="connsiteX3" fmla="*/ 348011 w 2016594"/>
              <a:gd name="connsiteY3" fmla="*/ 6858000 h 6858000"/>
              <a:gd name="connsiteX4" fmla="*/ 0 w 2016594"/>
              <a:gd name="connsiteY4" fmla="*/ 6858000 h 6858000"/>
              <a:gd name="connsiteX5" fmla="*/ 0 w 2016594"/>
              <a:gd name="connsiteY5" fmla="*/ 6655729 h 6858000"/>
              <a:gd name="connsiteX6" fmla="*/ 1569994 w 2016594"/>
              <a:gd name="connsiteY6" fmla="*/ 3434542 h 6858000"/>
              <a:gd name="connsiteX7" fmla="*/ 0 w 2016594"/>
              <a:gd name="connsiteY7" fmla="*/ 1951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16594" h="6858000">
                <a:moveTo>
                  <a:pt x="0" y="0"/>
                </a:moveTo>
                <a:lnTo>
                  <a:pt x="351451" y="0"/>
                </a:lnTo>
                <a:lnTo>
                  <a:pt x="2016594" y="3434542"/>
                </a:lnTo>
                <a:lnTo>
                  <a:pt x="348011" y="6858000"/>
                </a:lnTo>
                <a:lnTo>
                  <a:pt x="0" y="6858000"/>
                </a:lnTo>
                <a:lnTo>
                  <a:pt x="0" y="6655729"/>
                </a:lnTo>
                <a:lnTo>
                  <a:pt x="1569994" y="3434542"/>
                </a:lnTo>
                <a:lnTo>
                  <a:pt x="0" y="195108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rgbClr val="4B00B0">
                  <a:alpha val="94000"/>
                </a:srgb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1" name="Forme libre : forme 70">
            <a:extLst>
              <a:ext uri="{FF2B5EF4-FFF2-40B4-BE49-F238E27FC236}">
                <a16:creationId xmlns:a16="http://schemas.microsoft.com/office/drawing/2014/main" id="{333082C1-7502-427F-ABB8-586384355463}"/>
              </a:ext>
            </a:extLst>
          </p:cNvPr>
          <p:cNvSpPr/>
          <p:nvPr userDrawn="1"/>
        </p:nvSpPr>
        <p:spPr>
          <a:xfrm>
            <a:off x="1" y="286451"/>
            <a:ext cx="1526266" cy="6279559"/>
          </a:xfrm>
          <a:custGeom>
            <a:avLst/>
            <a:gdLst>
              <a:gd name="connsiteX0" fmla="*/ 0 w 1526266"/>
              <a:gd name="connsiteY0" fmla="*/ 0 h 6279559"/>
              <a:gd name="connsiteX1" fmla="*/ 1526266 w 1526266"/>
              <a:gd name="connsiteY1" fmla="*/ 3148093 h 6279559"/>
              <a:gd name="connsiteX2" fmla="*/ 0 w 1526266"/>
              <a:gd name="connsiteY2" fmla="*/ 6279559 h 6279559"/>
              <a:gd name="connsiteX3" fmla="*/ 0 w 1526266"/>
              <a:gd name="connsiteY3" fmla="*/ 5347085 h 6279559"/>
              <a:gd name="connsiteX4" fmla="*/ 1071781 w 1526266"/>
              <a:gd name="connsiteY4" fmla="*/ 3148093 h 6279559"/>
              <a:gd name="connsiteX5" fmla="*/ 0 w 1526266"/>
              <a:gd name="connsiteY5" fmla="*/ 936642 h 6279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6266" h="6279559">
                <a:moveTo>
                  <a:pt x="0" y="0"/>
                </a:moveTo>
                <a:lnTo>
                  <a:pt x="1526266" y="3148093"/>
                </a:lnTo>
                <a:lnTo>
                  <a:pt x="0" y="6279559"/>
                </a:lnTo>
                <a:lnTo>
                  <a:pt x="0" y="5347085"/>
                </a:lnTo>
                <a:lnTo>
                  <a:pt x="1071781" y="3148093"/>
                </a:lnTo>
                <a:lnTo>
                  <a:pt x="0" y="936642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rgbClr val="4B00B0">
                  <a:alpha val="94000"/>
                </a:srgb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9" name="Forme libre : forme 68">
            <a:extLst>
              <a:ext uri="{FF2B5EF4-FFF2-40B4-BE49-F238E27FC236}">
                <a16:creationId xmlns:a16="http://schemas.microsoft.com/office/drawing/2014/main" id="{F54B92F2-7AB3-4235-99FB-165E89EBF4F1}"/>
              </a:ext>
            </a:extLst>
          </p:cNvPr>
          <p:cNvSpPr/>
          <p:nvPr userDrawn="1"/>
        </p:nvSpPr>
        <p:spPr>
          <a:xfrm>
            <a:off x="0" y="1297051"/>
            <a:ext cx="1035939" cy="4262949"/>
          </a:xfrm>
          <a:custGeom>
            <a:avLst/>
            <a:gdLst>
              <a:gd name="connsiteX0" fmla="*/ 0 w 1035939"/>
              <a:gd name="connsiteY0" fmla="*/ 0 h 4262949"/>
              <a:gd name="connsiteX1" fmla="*/ 1035939 w 1035939"/>
              <a:gd name="connsiteY1" fmla="*/ 2137495 h 4262949"/>
              <a:gd name="connsiteX2" fmla="*/ 0 w 1035939"/>
              <a:gd name="connsiteY2" fmla="*/ 4262949 h 4262949"/>
              <a:gd name="connsiteX3" fmla="*/ 0 w 1035939"/>
              <a:gd name="connsiteY3" fmla="*/ 3314296 h 4262949"/>
              <a:gd name="connsiteX4" fmla="*/ 573569 w 1035939"/>
              <a:gd name="connsiteY4" fmla="*/ 2137495 h 4262949"/>
              <a:gd name="connsiteX5" fmla="*/ 0 w 1035939"/>
              <a:gd name="connsiteY5" fmla="*/ 954028 h 4262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35939" h="4262949">
                <a:moveTo>
                  <a:pt x="0" y="0"/>
                </a:moveTo>
                <a:lnTo>
                  <a:pt x="1035939" y="2137495"/>
                </a:lnTo>
                <a:lnTo>
                  <a:pt x="0" y="4262949"/>
                </a:lnTo>
                <a:lnTo>
                  <a:pt x="0" y="3314296"/>
                </a:lnTo>
                <a:lnTo>
                  <a:pt x="573569" y="2137495"/>
                </a:lnTo>
                <a:lnTo>
                  <a:pt x="0" y="954028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rgbClr val="4B00B0">
                  <a:alpha val="94000"/>
                </a:srgb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7" name="Forme libre : forme 66">
            <a:extLst>
              <a:ext uri="{FF2B5EF4-FFF2-40B4-BE49-F238E27FC236}">
                <a16:creationId xmlns:a16="http://schemas.microsoft.com/office/drawing/2014/main" id="{8B087CB9-0F03-4012-A1D9-1BBFEAF32946}"/>
              </a:ext>
            </a:extLst>
          </p:cNvPr>
          <p:cNvSpPr/>
          <p:nvPr userDrawn="1"/>
        </p:nvSpPr>
        <p:spPr>
          <a:xfrm>
            <a:off x="0" y="2316549"/>
            <a:ext cx="542029" cy="2230086"/>
          </a:xfrm>
          <a:custGeom>
            <a:avLst/>
            <a:gdLst>
              <a:gd name="connsiteX0" fmla="*/ 0 w 542029"/>
              <a:gd name="connsiteY0" fmla="*/ 0 h 2230086"/>
              <a:gd name="connsiteX1" fmla="*/ 542029 w 542029"/>
              <a:gd name="connsiteY1" fmla="*/ 1117995 h 2230086"/>
              <a:gd name="connsiteX2" fmla="*/ 0 w 542029"/>
              <a:gd name="connsiteY2" fmla="*/ 2230086 h 2230086"/>
              <a:gd name="connsiteX3" fmla="*/ 0 w 542029"/>
              <a:gd name="connsiteY3" fmla="*/ 1281433 h 2230086"/>
              <a:gd name="connsiteX4" fmla="*/ 1 w 542029"/>
              <a:gd name="connsiteY4" fmla="*/ 1281431 h 2230086"/>
              <a:gd name="connsiteX5" fmla="*/ 1 w 542029"/>
              <a:gd name="connsiteY5" fmla="*/ 953633 h 2230086"/>
              <a:gd name="connsiteX6" fmla="*/ 0 w 542029"/>
              <a:gd name="connsiteY6" fmla="*/ 953631 h 2230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2029" h="2230086">
                <a:moveTo>
                  <a:pt x="0" y="0"/>
                </a:moveTo>
                <a:lnTo>
                  <a:pt x="542029" y="1117995"/>
                </a:lnTo>
                <a:lnTo>
                  <a:pt x="0" y="2230086"/>
                </a:lnTo>
                <a:lnTo>
                  <a:pt x="0" y="1281433"/>
                </a:lnTo>
                <a:lnTo>
                  <a:pt x="1" y="1281431"/>
                </a:lnTo>
                <a:lnTo>
                  <a:pt x="1" y="953633"/>
                </a:lnTo>
                <a:lnTo>
                  <a:pt x="0" y="953631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rgbClr val="4B00B0">
                  <a:alpha val="94000"/>
                </a:srgb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F38AEEE0-3B2D-443B-BE04-D34B28A30C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11396" y="1599488"/>
            <a:ext cx="3755136" cy="203197"/>
          </a:xfrm>
          <a:noFill/>
          <a:effectLst/>
        </p:spPr>
        <p:txBody>
          <a:bodyPr lIns="0" tIns="0" rIns="0" bIns="0" anchor="b" anchorCtr="0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lang="en-US" sz="1467" kern="1200" cap="all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170684" indent="0" algn="ctr">
              <a:buNone/>
              <a:defRPr lang="en-US" sz="1467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67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ONTACT</a:t>
            </a:r>
          </a:p>
        </p:txBody>
      </p: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3EF9DE15-D016-4221-B9C9-18C96214E032}"/>
              </a:ext>
            </a:extLst>
          </p:cNvPr>
          <p:cNvGrpSpPr/>
          <p:nvPr userDrawn="1"/>
        </p:nvGrpSpPr>
        <p:grpSpPr>
          <a:xfrm>
            <a:off x="7711396" y="5587483"/>
            <a:ext cx="3755136" cy="709858"/>
            <a:chOff x="7711396" y="5587483"/>
            <a:chExt cx="3755136" cy="709858"/>
          </a:xfrm>
        </p:grpSpPr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826B8D76-4F7F-411F-86E0-B951B43DF4EB}"/>
                </a:ext>
              </a:extLst>
            </p:cNvPr>
            <p:cNvSpPr/>
            <p:nvPr/>
          </p:nvSpPr>
          <p:spPr>
            <a:xfrm>
              <a:off x="8956248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67 w 289676"/>
                <a:gd name="connsiteY5" fmla="*/ 144838 h 289675"/>
                <a:gd name="connsiteX6" fmla="*/ 144838 w 289676"/>
                <a:gd name="connsiteY6" fmla="*/ 13167 h 289675"/>
                <a:gd name="connsiteX7" fmla="*/ 276509 w 289676"/>
                <a:gd name="connsiteY7" fmla="*/ 144838 h 289675"/>
                <a:gd name="connsiteX8" fmla="*/ 144838 w 289676"/>
                <a:gd name="connsiteY8" fmla="*/ 276508 h 289675"/>
                <a:gd name="connsiteX9" fmla="*/ 13167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7"/>
                    <a:pt x="224828" y="0"/>
                    <a:pt x="144838" y="0"/>
                  </a:cubicBezTo>
                  <a:cubicBezTo>
                    <a:pt x="64848" y="0"/>
                    <a:pt x="0" y="64847"/>
                    <a:pt x="0" y="144838"/>
                  </a:cubicBezTo>
                  <a:cubicBezTo>
                    <a:pt x="0" y="224827"/>
                    <a:pt x="64848" y="289675"/>
                    <a:pt x="144838" y="289675"/>
                  </a:cubicBezTo>
                  <a:cubicBezTo>
                    <a:pt x="224828" y="289675"/>
                    <a:pt x="289676" y="224827"/>
                    <a:pt x="289676" y="144838"/>
                  </a:cubicBezTo>
                  <a:close/>
                  <a:moveTo>
                    <a:pt x="13167" y="144838"/>
                  </a:moveTo>
                  <a:cubicBezTo>
                    <a:pt x="13167" y="72116"/>
                    <a:pt x="72116" y="13167"/>
                    <a:pt x="144838" y="13167"/>
                  </a:cubicBezTo>
                  <a:cubicBezTo>
                    <a:pt x="217560" y="13167"/>
                    <a:pt x="276509" y="72116"/>
                    <a:pt x="276509" y="144838"/>
                  </a:cubicBezTo>
                  <a:cubicBezTo>
                    <a:pt x="276509" y="217559"/>
                    <a:pt x="217560" y="276508"/>
                    <a:pt x="144838" y="276508"/>
                  </a:cubicBezTo>
                  <a:cubicBezTo>
                    <a:pt x="72116" y="276508"/>
                    <a:pt x="13167" y="217559"/>
                    <a:pt x="13167" y="144838"/>
                  </a:cubicBezTo>
                  <a:close/>
                </a:path>
              </a:pathLst>
            </a:custGeom>
            <a:solidFill>
              <a:schemeClr val="accent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ZoneTexte 42">
              <a:hlinkClick r:id="rId2"/>
              <a:extLst>
                <a:ext uri="{FF2B5EF4-FFF2-40B4-BE49-F238E27FC236}">
                  <a16:creationId xmlns:a16="http://schemas.microsoft.com/office/drawing/2014/main" id="{B4771747-4D9C-420C-A080-93E6A8FD36C5}"/>
                </a:ext>
              </a:extLst>
            </p:cNvPr>
            <p:cNvSpPr txBox="1"/>
            <p:nvPr userDrawn="1"/>
          </p:nvSpPr>
          <p:spPr>
            <a:xfrm>
              <a:off x="7711396" y="6061892"/>
              <a:ext cx="3755136" cy="235449"/>
            </a:xfrm>
            <a:prstGeom prst="rect">
              <a:avLst/>
            </a:prstGeom>
            <a:noFill/>
            <a:effectLst/>
          </p:spPr>
          <p:txBody>
            <a:bodyPr vert="horz" wrap="square" lIns="0" tIns="0" rIns="0" bIns="0" rtlCol="0" anchor="ctr" anchorCtr="0">
              <a:spAutoFit/>
            </a:bodyPr>
            <a:lstStyle>
              <a:lvl1pPr lvl="0" indent="0" algn="ctr" defTabSz="914377">
                <a:lnSpc>
                  <a:spcPct val="90000"/>
                </a:lnSpc>
                <a:spcBef>
                  <a:spcPts val="1600"/>
                </a:spcBef>
                <a:buFont typeface="Arial" panose="020B0604020202020204" pitchFamily="34" charset="0"/>
                <a:buNone/>
                <a:defRPr sz="1700" b="1" baseline="0">
                  <a:solidFill>
                    <a:schemeClr val="bg1"/>
                  </a:solidFill>
                </a:defRPr>
              </a:lvl1pPr>
              <a:lvl2pPr marL="170684" indent="0" algn="ctr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None/>
                <a:defRPr sz="1333">
                  <a:solidFill>
                    <a:schemeClr val="bg1"/>
                  </a:solidFill>
                </a:defRPr>
              </a:lvl2pPr>
              <a:lvl3pPr marL="621776" indent="-292601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Char char="→"/>
                <a:defRPr sz="1600">
                  <a:solidFill>
                    <a:schemeClr val="accent1"/>
                  </a:solidFill>
                </a:defRPr>
              </a:lvl3pPr>
              <a:lvl4pPr marL="768077" indent="-146300" defTabSz="914377">
                <a:lnSpc>
                  <a:spcPct val="90000"/>
                </a:lnSpc>
                <a:spcBef>
                  <a:spcPts val="533"/>
                </a:spcBef>
                <a:buFontTx/>
                <a:buBlip>
                  <a:blip r:embed="rId3"/>
                </a:buBlip>
                <a:defRPr sz="1333"/>
              </a:lvl4pPr>
              <a:lvl5pPr marL="914377" indent="-109725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Char char="•"/>
                <a:defRPr sz="1333">
                  <a:solidFill>
                    <a:schemeClr val="bg2"/>
                  </a:solidFill>
                </a:defRPr>
              </a:lvl5pPr>
              <a:lvl6pPr marL="2514537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6pPr>
              <a:lvl7pPr marL="2971726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7pPr>
              <a:lvl8pPr marL="3428914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8pPr>
              <a:lvl9pPr marL="3886103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9pPr>
            </a:lstStyle>
            <a:p>
              <a:pPr lvl="0"/>
              <a:r>
                <a:rPr lang="en-US" noProof="0" dirty="0">
                  <a:solidFill>
                    <a:schemeClr val="accent1"/>
                  </a:solidFill>
                </a:rPr>
                <a:t>www.Idemia.com</a:t>
              </a:r>
            </a:p>
          </p:txBody>
        </p: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24C533E0-2725-4BDB-9091-4C2E05B0A7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168955" y="5975873"/>
              <a:ext cx="2840018" cy="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ZoneTexte 44">
              <a:extLst>
                <a:ext uri="{FF2B5EF4-FFF2-40B4-BE49-F238E27FC236}">
                  <a16:creationId xmlns:a16="http://schemas.microsoft.com/office/drawing/2014/main" id="{0857C31A-CCBA-43C1-83CD-FB46A79FB660}"/>
                </a:ext>
              </a:extLst>
            </p:cNvPr>
            <p:cNvSpPr txBox="1"/>
            <p:nvPr userDrawn="1"/>
          </p:nvSpPr>
          <p:spPr>
            <a:xfrm>
              <a:off x="8173974" y="5687356"/>
              <a:ext cx="744115" cy="145424"/>
            </a:xfrm>
            <a:prstGeom prst="rect">
              <a:avLst/>
            </a:prstGeom>
            <a:noFill/>
            <a:effectLst/>
          </p:spPr>
          <p:txBody>
            <a:bodyPr vert="horz" wrap="square" lIns="0" tIns="0" rIns="0" bIns="0" rtlCol="0" anchor="ctr" anchorCtr="0">
              <a:spAutoFit/>
            </a:bodyPr>
            <a:lstStyle>
              <a:lvl1pPr lvl="0" indent="0" algn="ctr" defTabSz="914377">
                <a:lnSpc>
                  <a:spcPct val="90000"/>
                </a:lnSpc>
                <a:spcBef>
                  <a:spcPts val="1600"/>
                </a:spcBef>
                <a:buFont typeface="Arial" panose="020B0604020202020204" pitchFamily="34" charset="0"/>
                <a:buNone/>
                <a:defRPr sz="1700" b="1" baseline="0">
                  <a:solidFill>
                    <a:schemeClr val="bg1"/>
                  </a:solidFill>
                </a:defRPr>
              </a:lvl1pPr>
              <a:lvl2pPr marL="170684" indent="0" algn="ctr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None/>
                <a:defRPr sz="1333">
                  <a:solidFill>
                    <a:schemeClr val="bg1"/>
                  </a:solidFill>
                </a:defRPr>
              </a:lvl2pPr>
              <a:lvl3pPr marL="621776" indent="-292601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Char char="→"/>
                <a:defRPr sz="1600">
                  <a:solidFill>
                    <a:schemeClr val="accent1"/>
                  </a:solidFill>
                </a:defRPr>
              </a:lvl3pPr>
              <a:lvl4pPr marL="768077" indent="-146300" defTabSz="914377">
                <a:lnSpc>
                  <a:spcPct val="90000"/>
                </a:lnSpc>
                <a:spcBef>
                  <a:spcPts val="533"/>
                </a:spcBef>
                <a:buFontTx/>
                <a:buBlip>
                  <a:blip r:embed="rId3"/>
                </a:buBlip>
                <a:defRPr sz="1333"/>
              </a:lvl4pPr>
              <a:lvl5pPr marL="914377" indent="-109725" defTabSz="914377">
                <a:lnSpc>
                  <a:spcPct val="90000"/>
                </a:lnSpc>
                <a:spcBef>
                  <a:spcPts val="533"/>
                </a:spcBef>
                <a:buFont typeface="Arial" panose="020B0604020202020204" pitchFamily="34" charset="0"/>
                <a:buChar char="•"/>
                <a:defRPr sz="1333">
                  <a:solidFill>
                    <a:schemeClr val="bg2"/>
                  </a:solidFill>
                </a:defRPr>
              </a:lvl5pPr>
              <a:lvl6pPr marL="2514537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6pPr>
              <a:lvl7pPr marL="2971726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7pPr>
              <a:lvl8pPr marL="3428914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8pPr>
              <a:lvl9pPr marL="3886103" indent="-228594" defTabSz="914377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/>
              </a:lvl9pPr>
            </a:lstStyle>
            <a:p>
              <a:pPr lvl="0" algn="l"/>
              <a:r>
                <a:rPr lang="en-US" sz="1050" b="0" spc="43" noProof="0" dirty="0">
                  <a:solidFill>
                    <a:schemeClr val="accent1"/>
                  </a:solidFill>
                </a:rPr>
                <a:t>Join us on</a:t>
              </a:r>
            </a:p>
          </p:txBody>
        </p:sp>
        <p:grpSp>
          <p:nvGrpSpPr>
            <p:cNvPr id="46" name="Graphique 109">
              <a:extLst>
                <a:ext uri="{FF2B5EF4-FFF2-40B4-BE49-F238E27FC236}">
                  <a16:creationId xmlns:a16="http://schemas.microsoft.com/office/drawing/2014/main" id="{9F01F5C5-5A06-4197-A775-AC9BF0D67245}"/>
                </a:ext>
              </a:extLst>
            </p:cNvPr>
            <p:cNvGrpSpPr/>
            <p:nvPr/>
          </p:nvGrpSpPr>
          <p:grpSpPr>
            <a:xfrm>
              <a:off x="10791668" y="5661826"/>
              <a:ext cx="145879" cy="145878"/>
              <a:chOff x="10791668" y="5661826"/>
              <a:chExt cx="145879" cy="145878"/>
            </a:xfrm>
            <a:solidFill>
              <a:schemeClr val="accent1"/>
            </a:solidFill>
          </p:grpSpPr>
          <p:sp>
            <p:nvSpPr>
              <p:cNvPr id="60" name="Forme libre : forme 59">
                <a:extLst>
                  <a:ext uri="{FF2B5EF4-FFF2-40B4-BE49-F238E27FC236}">
                    <a16:creationId xmlns:a16="http://schemas.microsoft.com/office/drawing/2014/main" id="{CAABC03E-7FCB-4251-AC4F-01997BF54202}"/>
                  </a:ext>
                </a:extLst>
              </p:cNvPr>
              <p:cNvSpPr/>
              <p:nvPr/>
            </p:nvSpPr>
            <p:spPr>
              <a:xfrm>
                <a:off x="10791668" y="5661826"/>
                <a:ext cx="145879" cy="145878"/>
              </a:xfrm>
              <a:custGeom>
                <a:avLst/>
                <a:gdLst>
                  <a:gd name="connsiteX0" fmla="*/ 72940 w 145879"/>
                  <a:gd name="connsiteY0" fmla="*/ 13111 h 145878"/>
                  <a:gd name="connsiteX1" fmla="*/ 102381 w 145879"/>
                  <a:gd name="connsiteY1" fmla="*/ 13537 h 145878"/>
                  <a:gd name="connsiteX2" fmla="*/ 115918 w 145879"/>
                  <a:gd name="connsiteY2" fmla="*/ 16046 h 145878"/>
                  <a:gd name="connsiteX3" fmla="*/ 124296 w 145879"/>
                  <a:gd name="connsiteY3" fmla="*/ 21489 h 145878"/>
                  <a:gd name="connsiteX4" fmla="*/ 129739 w 145879"/>
                  <a:gd name="connsiteY4" fmla="*/ 29867 h 145878"/>
                  <a:gd name="connsiteX5" fmla="*/ 132248 w 145879"/>
                  <a:gd name="connsiteY5" fmla="*/ 43404 h 145878"/>
                  <a:gd name="connsiteX6" fmla="*/ 132674 w 145879"/>
                  <a:gd name="connsiteY6" fmla="*/ 72845 h 145878"/>
                  <a:gd name="connsiteX7" fmla="*/ 132248 w 145879"/>
                  <a:gd name="connsiteY7" fmla="*/ 102286 h 145878"/>
                  <a:gd name="connsiteX8" fmla="*/ 129739 w 145879"/>
                  <a:gd name="connsiteY8" fmla="*/ 115823 h 145878"/>
                  <a:gd name="connsiteX9" fmla="*/ 124296 w 145879"/>
                  <a:gd name="connsiteY9" fmla="*/ 124201 h 145878"/>
                  <a:gd name="connsiteX10" fmla="*/ 115918 w 145879"/>
                  <a:gd name="connsiteY10" fmla="*/ 129644 h 145878"/>
                  <a:gd name="connsiteX11" fmla="*/ 102381 w 145879"/>
                  <a:gd name="connsiteY11" fmla="*/ 132152 h 145878"/>
                  <a:gd name="connsiteX12" fmla="*/ 72940 w 145879"/>
                  <a:gd name="connsiteY12" fmla="*/ 132578 h 145878"/>
                  <a:gd name="connsiteX13" fmla="*/ 43499 w 145879"/>
                  <a:gd name="connsiteY13" fmla="*/ 132152 h 145878"/>
                  <a:gd name="connsiteX14" fmla="*/ 29962 w 145879"/>
                  <a:gd name="connsiteY14" fmla="*/ 129644 h 145878"/>
                  <a:gd name="connsiteX15" fmla="*/ 21584 w 145879"/>
                  <a:gd name="connsiteY15" fmla="*/ 124201 h 145878"/>
                  <a:gd name="connsiteX16" fmla="*/ 16140 w 145879"/>
                  <a:gd name="connsiteY16" fmla="*/ 115823 h 145878"/>
                  <a:gd name="connsiteX17" fmla="*/ 13632 w 145879"/>
                  <a:gd name="connsiteY17" fmla="*/ 102286 h 145878"/>
                  <a:gd name="connsiteX18" fmla="*/ 13206 w 145879"/>
                  <a:gd name="connsiteY18" fmla="*/ 72845 h 145878"/>
                  <a:gd name="connsiteX19" fmla="*/ 13632 w 145879"/>
                  <a:gd name="connsiteY19" fmla="*/ 43404 h 145878"/>
                  <a:gd name="connsiteX20" fmla="*/ 16140 w 145879"/>
                  <a:gd name="connsiteY20" fmla="*/ 29867 h 145878"/>
                  <a:gd name="connsiteX21" fmla="*/ 21584 w 145879"/>
                  <a:gd name="connsiteY21" fmla="*/ 21489 h 145878"/>
                  <a:gd name="connsiteX22" fmla="*/ 29962 w 145879"/>
                  <a:gd name="connsiteY22" fmla="*/ 16046 h 145878"/>
                  <a:gd name="connsiteX23" fmla="*/ 43499 w 145879"/>
                  <a:gd name="connsiteY23" fmla="*/ 13537 h 145878"/>
                  <a:gd name="connsiteX24" fmla="*/ 72940 w 145879"/>
                  <a:gd name="connsiteY24" fmla="*/ 13111 h 145878"/>
                  <a:gd name="connsiteX25" fmla="*/ 72940 w 145879"/>
                  <a:gd name="connsiteY25" fmla="*/ 0 h 145878"/>
                  <a:gd name="connsiteX26" fmla="*/ 42883 w 145879"/>
                  <a:gd name="connsiteY26" fmla="*/ 426 h 145878"/>
                  <a:gd name="connsiteX27" fmla="*/ 25181 w 145879"/>
                  <a:gd name="connsiteY27" fmla="*/ 3834 h 145878"/>
                  <a:gd name="connsiteX28" fmla="*/ 12259 w 145879"/>
                  <a:gd name="connsiteY28" fmla="*/ 12259 h 145878"/>
                  <a:gd name="connsiteX29" fmla="*/ 3834 w 145879"/>
                  <a:gd name="connsiteY29" fmla="*/ 25181 h 145878"/>
                  <a:gd name="connsiteX30" fmla="*/ 426 w 145879"/>
                  <a:gd name="connsiteY30" fmla="*/ 42883 h 145878"/>
                  <a:gd name="connsiteX31" fmla="*/ 0 w 145879"/>
                  <a:gd name="connsiteY31" fmla="*/ 72939 h 145878"/>
                  <a:gd name="connsiteX32" fmla="*/ 426 w 145879"/>
                  <a:gd name="connsiteY32" fmla="*/ 102996 h 145878"/>
                  <a:gd name="connsiteX33" fmla="*/ 3834 w 145879"/>
                  <a:gd name="connsiteY33" fmla="*/ 120698 h 145878"/>
                  <a:gd name="connsiteX34" fmla="*/ 12259 w 145879"/>
                  <a:gd name="connsiteY34" fmla="*/ 133620 h 145878"/>
                  <a:gd name="connsiteX35" fmla="*/ 25181 w 145879"/>
                  <a:gd name="connsiteY35" fmla="*/ 142045 h 145878"/>
                  <a:gd name="connsiteX36" fmla="*/ 42883 w 145879"/>
                  <a:gd name="connsiteY36" fmla="*/ 145453 h 145878"/>
                  <a:gd name="connsiteX37" fmla="*/ 72940 w 145879"/>
                  <a:gd name="connsiteY37" fmla="*/ 145879 h 145878"/>
                  <a:gd name="connsiteX38" fmla="*/ 102996 w 145879"/>
                  <a:gd name="connsiteY38" fmla="*/ 145453 h 145878"/>
                  <a:gd name="connsiteX39" fmla="*/ 120698 w 145879"/>
                  <a:gd name="connsiteY39" fmla="*/ 142045 h 145878"/>
                  <a:gd name="connsiteX40" fmla="*/ 133620 w 145879"/>
                  <a:gd name="connsiteY40" fmla="*/ 133620 h 145878"/>
                  <a:gd name="connsiteX41" fmla="*/ 142045 w 145879"/>
                  <a:gd name="connsiteY41" fmla="*/ 120698 h 145878"/>
                  <a:gd name="connsiteX42" fmla="*/ 145453 w 145879"/>
                  <a:gd name="connsiteY42" fmla="*/ 102996 h 145878"/>
                  <a:gd name="connsiteX43" fmla="*/ 145879 w 145879"/>
                  <a:gd name="connsiteY43" fmla="*/ 72939 h 145878"/>
                  <a:gd name="connsiteX44" fmla="*/ 145453 w 145879"/>
                  <a:gd name="connsiteY44" fmla="*/ 42883 h 145878"/>
                  <a:gd name="connsiteX45" fmla="*/ 142045 w 145879"/>
                  <a:gd name="connsiteY45" fmla="*/ 25181 h 145878"/>
                  <a:gd name="connsiteX46" fmla="*/ 133620 w 145879"/>
                  <a:gd name="connsiteY46" fmla="*/ 12259 h 145878"/>
                  <a:gd name="connsiteX47" fmla="*/ 120698 w 145879"/>
                  <a:gd name="connsiteY47" fmla="*/ 3834 h 145878"/>
                  <a:gd name="connsiteX48" fmla="*/ 102996 w 145879"/>
                  <a:gd name="connsiteY48" fmla="*/ 426 h 145878"/>
                  <a:gd name="connsiteX49" fmla="*/ 72940 w 145879"/>
                  <a:gd name="connsiteY49" fmla="*/ 0 h 145878"/>
                  <a:gd name="connsiteX50" fmla="*/ 72940 w 145879"/>
                  <a:gd name="connsiteY50" fmla="*/ 0 h 145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45879" h="145878">
                    <a:moveTo>
                      <a:pt x="72940" y="13111"/>
                    </a:moveTo>
                    <a:cubicBezTo>
                      <a:pt x="92393" y="13111"/>
                      <a:pt x="94713" y="13206"/>
                      <a:pt x="102381" y="13537"/>
                    </a:cubicBezTo>
                    <a:cubicBezTo>
                      <a:pt x="109481" y="13868"/>
                      <a:pt x="113362" y="15052"/>
                      <a:pt x="115918" y="16046"/>
                    </a:cubicBezTo>
                    <a:cubicBezTo>
                      <a:pt x="119326" y="17371"/>
                      <a:pt x="121740" y="18933"/>
                      <a:pt x="124296" y="21489"/>
                    </a:cubicBezTo>
                    <a:cubicBezTo>
                      <a:pt x="126852" y="24045"/>
                      <a:pt x="128414" y="26459"/>
                      <a:pt x="129739" y="29867"/>
                    </a:cubicBezTo>
                    <a:cubicBezTo>
                      <a:pt x="130733" y="32423"/>
                      <a:pt x="131916" y="36304"/>
                      <a:pt x="132248" y="43404"/>
                    </a:cubicBezTo>
                    <a:cubicBezTo>
                      <a:pt x="132579" y="51072"/>
                      <a:pt x="132674" y="53391"/>
                      <a:pt x="132674" y="72845"/>
                    </a:cubicBezTo>
                    <a:cubicBezTo>
                      <a:pt x="132674" y="92298"/>
                      <a:pt x="132579" y="94618"/>
                      <a:pt x="132248" y="102286"/>
                    </a:cubicBezTo>
                    <a:cubicBezTo>
                      <a:pt x="131916" y="109385"/>
                      <a:pt x="130733" y="113267"/>
                      <a:pt x="129739" y="115823"/>
                    </a:cubicBezTo>
                    <a:cubicBezTo>
                      <a:pt x="128414" y="119231"/>
                      <a:pt x="126852" y="121645"/>
                      <a:pt x="124296" y="124201"/>
                    </a:cubicBezTo>
                    <a:cubicBezTo>
                      <a:pt x="121740" y="126756"/>
                      <a:pt x="119326" y="128318"/>
                      <a:pt x="115918" y="129644"/>
                    </a:cubicBezTo>
                    <a:cubicBezTo>
                      <a:pt x="113362" y="130638"/>
                      <a:pt x="109481" y="131821"/>
                      <a:pt x="102381" y="132152"/>
                    </a:cubicBezTo>
                    <a:cubicBezTo>
                      <a:pt x="94713" y="132484"/>
                      <a:pt x="92393" y="132578"/>
                      <a:pt x="72940" y="132578"/>
                    </a:cubicBezTo>
                    <a:cubicBezTo>
                      <a:pt x="53486" y="132578"/>
                      <a:pt x="51167" y="132484"/>
                      <a:pt x="43499" y="132152"/>
                    </a:cubicBezTo>
                    <a:cubicBezTo>
                      <a:pt x="36399" y="131821"/>
                      <a:pt x="32518" y="130638"/>
                      <a:pt x="29962" y="129644"/>
                    </a:cubicBezTo>
                    <a:cubicBezTo>
                      <a:pt x="26554" y="128318"/>
                      <a:pt x="24140" y="126756"/>
                      <a:pt x="21584" y="124201"/>
                    </a:cubicBezTo>
                    <a:cubicBezTo>
                      <a:pt x="19028" y="121645"/>
                      <a:pt x="17466" y="119231"/>
                      <a:pt x="16140" y="115823"/>
                    </a:cubicBezTo>
                    <a:cubicBezTo>
                      <a:pt x="15146" y="113267"/>
                      <a:pt x="13963" y="109385"/>
                      <a:pt x="13632" y="102286"/>
                    </a:cubicBezTo>
                    <a:cubicBezTo>
                      <a:pt x="13300" y="94618"/>
                      <a:pt x="13206" y="92298"/>
                      <a:pt x="13206" y="72845"/>
                    </a:cubicBezTo>
                    <a:cubicBezTo>
                      <a:pt x="13206" y="53391"/>
                      <a:pt x="13300" y="51072"/>
                      <a:pt x="13632" y="43404"/>
                    </a:cubicBezTo>
                    <a:cubicBezTo>
                      <a:pt x="13963" y="36304"/>
                      <a:pt x="15146" y="32423"/>
                      <a:pt x="16140" y="29867"/>
                    </a:cubicBezTo>
                    <a:cubicBezTo>
                      <a:pt x="17466" y="26459"/>
                      <a:pt x="19028" y="24045"/>
                      <a:pt x="21584" y="21489"/>
                    </a:cubicBezTo>
                    <a:cubicBezTo>
                      <a:pt x="24140" y="18933"/>
                      <a:pt x="26554" y="17371"/>
                      <a:pt x="29962" y="16046"/>
                    </a:cubicBezTo>
                    <a:cubicBezTo>
                      <a:pt x="32518" y="15052"/>
                      <a:pt x="36399" y="13868"/>
                      <a:pt x="43499" y="13537"/>
                    </a:cubicBezTo>
                    <a:cubicBezTo>
                      <a:pt x="51167" y="13206"/>
                      <a:pt x="53486" y="13111"/>
                      <a:pt x="72940" y="13111"/>
                    </a:cubicBezTo>
                    <a:moveTo>
                      <a:pt x="72940" y="0"/>
                    </a:moveTo>
                    <a:cubicBezTo>
                      <a:pt x="53155" y="0"/>
                      <a:pt x="50646" y="95"/>
                      <a:pt x="42883" y="426"/>
                    </a:cubicBezTo>
                    <a:cubicBezTo>
                      <a:pt x="35121" y="757"/>
                      <a:pt x="29820" y="2035"/>
                      <a:pt x="25181" y="3834"/>
                    </a:cubicBezTo>
                    <a:cubicBezTo>
                      <a:pt x="20400" y="5680"/>
                      <a:pt x="16330" y="8189"/>
                      <a:pt x="12259" y="12259"/>
                    </a:cubicBezTo>
                    <a:cubicBezTo>
                      <a:pt x="8189" y="16330"/>
                      <a:pt x="5727" y="20353"/>
                      <a:pt x="3834" y="25181"/>
                    </a:cubicBezTo>
                    <a:cubicBezTo>
                      <a:pt x="2035" y="29819"/>
                      <a:pt x="805" y="35121"/>
                      <a:pt x="426" y="42883"/>
                    </a:cubicBezTo>
                    <a:cubicBezTo>
                      <a:pt x="95" y="50646"/>
                      <a:pt x="0" y="53154"/>
                      <a:pt x="0" y="72939"/>
                    </a:cubicBezTo>
                    <a:cubicBezTo>
                      <a:pt x="0" y="92724"/>
                      <a:pt x="95" y="95233"/>
                      <a:pt x="426" y="102996"/>
                    </a:cubicBezTo>
                    <a:cubicBezTo>
                      <a:pt x="757" y="110758"/>
                      <a:pt x="2035" y="116059"/>
                      <a:pt x="3834" y="120698"/>
                    </a:cubicBezTo>
                    <a:cubicBezTo>
                      <a:pt x="5680" y="125479"/>
                      <a:pt x="8189" y="129549"/>
                      <a:pt x="12259" y="133620"/>
                    </a:cubicBezTo>
                    <a:cubicBezTo>
                      <a:pt x="16330" y="137690"/>
                      <a:pt x="20353" y="140152"/>
                      <a:pt x="25181" y="142045"/>
                    </a:cubicBezTo>
                    <a:cubicBezTo>
                      <a:pt x="29820" y="143844"/>
                      <a:pt x="35121" y="145074"/>
                      <a:pt x="42883" y="145453"/>
                    </a:cubicBezTo>
                    <a:cubicBezTo>
                      <a:pt x="50646" y="145784"/>
                      <a:pt x="53155" y="145879"/>
                      <a:pt x="72940" y="145879"/>
                    </a:cubicBezTo>
                    <a:cubicBezTo>
                      <a:pt x="92725" y="145879"/>
                      <a:pt x="95233" y="145784"/>
                      <a:pt x="102996" y="145453"/>
                    </a:cubicBezTo>
                    <a:cubicBezTo>
                      <a:pt x="110758" y="145122"/>
                      <a:pt x="116060" y="143844"/>
                      <a:pt x="120698" y="142045"/>
                    </a:cubicBezTo>
                    <a:cubicBezTo>
                      <a:pt x="125479" y="140199"/>
                      <a:pt x="129550" y="137690"/>
                      <a:pt x="133620" y="133620"/>
                    </a:cubicBezTo>
                    <a:cubicBezTo>
                      <a:pt x="137691" y="129549"/>
                      <a:pt x="140152" y="125526"/>
                      <a:pt x="142045" y="120698"/>
                    </a:cubicBezTo>
                    <a:cubicBezTo>
                      <a:pt x="143844" y="116059"/>
                      <a:pt x="145075" y="110758"/>
                      <a:pt x="145453" y="102996"/>
                    </a:cubicBezTo>
                    <a:cubicBezTo>
                      <a:pt x="145785" y="95233"/>
                      <a:pt x="145879" y="92724"/>
                      <a:pt x="145879" y="72939"/>
                    </a:cubicBezTo>
                    <a:cubicBezTo>
                      <a:pt x="145879" y="53154"/>
                      <a:pt x="145785" y="50646"/>
                      <a:pt x="145453" y="42883"/>
                    </a:cubicBezTo>
                    <a:cubicBezTo>
                      <a:pt x="145122" y="35121"/>
                      <a:pt x="143844" y="29819"/>
                      <a:pt x="142045" y="25181"/>
                    </a:cubicBezTo>
                    <a:cubicBezTo>
                      <a:pt x="140199" y="20400"/>
                      <a:pt x="137691" y="16330"/>
                      <a:pt x="133620" y="12259"/>
                    </a:cubicBezTo>
                    <a:cubicBezTo>
                      <a:pt x="129550" y="8189"/>
                      <a:pt x="125526" y="5727"/>
                      <a:pt x="120698" y="3834"/>
                    </a:cubicBezTo>
                    <a:cubicBezTo>
                      <a:pt x="116060" y="2035"/>
                      <a:pt x="110758" y="805"/>
                      <a:pt x="102996" y="426"/>
                    </a:cubicBezTo>
                    <a:cubicBezTo>
                      <a:pt x="95233" y="95"/>
                      <a:pt x="92725" y="0"/>
                      <a:pt x="72940" y="0"/>
                    </a:cubicBezTo>
                    <a:lnTo>
                      <a:pt x="72940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4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orme libre : forme 60">
                <a:extLst>
                  <a:ext uri="{FF2B5EF4-FFF2-40B4-BE49-F238E27FC236}">
                    <a16:creationId xmlns:a16="http://schemas.microsoft.com/office/drawing/2014/main" id="{97930493-B2A4-4F5C-A685-285B90498DBE}"/>
                  </a:ext>
                </a:extLst>
              </p:cNvPr>
              <p:cNvSpPr/>
              <p:nvPr/>
            </p:nvSpPr>
            <p:spPr>
              <a:xfrm>
                <a:off x="10827168" y="5697278"/>
                <a:ext cx="74880" cy="74880"/>
              </a:xfrm>
              <a:custGeom>
                <a:avLst/>
                <a:gdLst>
                  <a:gd name="connsiteX0" fmla="*/ 37440 w 74880"/>
                  <a:gd name="connsiteY0" fmla="*/ 0 h 74880"/>
                  <a:gd name="connsiteX1" fmla="*/ 0 w 74880"/>
                  <a:gd name="connsiteY1" fmla="*/ 37440 h 74880"/>
                  <a:gd name="connsiteX2" fmla="*/ 37440 w 74880"/>
                  <a:gd name="connsiteY2" fmla="*/ 74880 h 74880"/>
                  <a:gd name="connsiteX3" fmla="*/ 74880 w 74880"/>
                  <a:gd name="connsiteY3" fmla="*/ 37440 h 74880"/>
                  <a:gd name="connsiteX4" fmla="*/ 37440 w 74880"/>
                  <a:gd name="connsiteY4" fmla="*/ 0 h 74880"/>
                  <a:gd name="connsiteX5" fmla="*/ 37440 w 74880"/>
                  <a:gd name="connsiteY5" fmla="*/ 61722 h 74880"/>
                  <a:gd name="connsiteX6" fmla="*/ 13158 w 74880"/>
                  <a:gd name="connsiteY6" fmla="*/ 37440 h 74880"/>
                  <a:gd name="connsiteX7" fmla="*/ 37440 w 74880"/>
                  <a:gd name="connsiteY7" fmla="*/ 13158 h 74880"/>
                  <a:gd name="connsiteX8" fmla="*/ 61722 w 74880"/>
                  <a:gd name="connsiteY8" fmla="*/ 37440 h 74880"/>
                  <a:gd name="connsiteX9" fmla="*/ 37440 w 74880"/>
                  <a:gd name="connsiteY9" fmla="*/ 61722 h 74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4880" h="74880">
                    <a:moveTo>
                      <a:pt x="37440" y="0"/>
                    </a:moveTo>
                    <a:cubicBezTo>
                      <a:pt x="16756" y="0"/>
                      <a:pt x="0" y="16756"/>
                      <a:pt x="0" y="37440"/>
                    </a:cubicBezTo>
                    <a:cubicBezTo>
                      <a:pt x="0" y="58124"/>
                      <a:pt x="16756" y="74880"/>
                      <a:pt x="37440" y="74880"/>
                    </a:cubicBezTo>
                    <a:cubicBezTo>
                      <a:pt x="58125" y="74880"/>
                      <a:pt x="74880" y="58124"/>
                      <a:pt x="74880" y="37440"/>
                    </a:cubicBezTo>
                    <a:cubicBezTo>
                      <a:pt x="74880" y="16756"/>
                      <a:pt x="58125" y="0"/>
                      <a:pt x="37440" y="0"/>
                    </a:cubicBezTo>
                    <a:close/>
                    <a:moveTo>
                      <a:pt x="37440" y="61722"/>
                    </a:moveTo>
                    <a:cubicBezTo>
                      <a:pt x="23998" y="61722"/>
                      <a:pt x="13158" y="50835"/>
                      <a:pt x="13158" y="37440"/>
                    </a:cubicBezTo>
                    <a:cubicBezTo>
                      <a:pt x="13158" y="23998"/>
                      <a:pt x="24045" y="13158"/>
                      <a:pt x="37440" y="13158"/>
                    </a:cubicBezTo>
                    <a:cubicBezTo>
                      <a:pt x="50883" y="13158"/>
                      <a:pt x="61722" y="24045"/>
                      <a:pt x="61722" y="37440"/>
                    </a:cubicBezTo>
                    <a:cubicBezTo>
                      <a:pt x="61722" y="50882"/>
                      <a:pt x="50883" y="61722"/>
                      <a:pt x="37440" y="6172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4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orme libre : forme 61">
                <a:extLst>
                  <a:ext uri="{FF2B5EF4-FFF2-40B4-BE49-F238E27FC236}">
                    <a16:creationId xmlns:a16="http://schemas.microsoft.com/office/drawing/2014/main" id="{2172D24D-CB5F-4720-AB27-47436EAF9402}"/>
                  </a:ext>
                </a:extLst>
              </p:cNvPr>
              <p:cNvSpPr/>
              <p:nvPr/>
            </p:nvSpPr>
            <p:spPr>
              <a:xfrm>
                <a:off x="10894759" y="5687054"/>
                <a:ext cx="17513" cy="17513"/>
              </a:xfrm>
              <a:custGeom>
                <a:avLst/>
                <a:gdLst>
                  <a:gd name="connsiteX0" fmla="*/ 17513 w 17513"/>
                  <a:gd name="connsiteY0" fmla="*/ 8757 h 17513"/>
                  <a:gd name="connsiteX1" fmla="*/ 8757 w 17513"/>
                  <a:gd name="connsiteY1" fmla="*/ 17513 h 17513"/>
                  <a:gd name="connsiteX2" fmla="*/ 0 w 17513"/>
                  <a:gd name="connsiteY2" fmla="*/ 8757 h 17513"/>
                  <a:gd name="connsiteX3" fmla="*/ 8757 w 17513"/>
                  <a:gd name="connsiteY3" fmla="*/ 0 h 17513"/>
                  <a:gd name="connsiteX4" fmla="*/ 17513 w 17513"/>
                  <a:gd name="connsiteY4" fmla="*/ 8757 h 17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13" h="17513">
                    <a:moveTo>
                      <a:pt x="17513" y="8757"/>
                    </a:moveTo>
                    <a:cubicBezTo>
                      <a:pt x="17513" y="13593"/>
                      <a:pt x="13593" y="17513"/>
                      <a:pt x="8757" y="17513"/>
                    </a:cubicBezTo>
                    <a:cubicBezTo>
                      <a:pt x="3920" y="17513"/>
                      <a:pt x="0" y="13593"/>
                      <a:pt x="0" y="8757"/>
                    </a:cubicBezTo>
                    <a:cubicBezTo>
                      <a:pt x="0" y="3920"/>
                      <a:pt x="3920" y="0"/>
                      <a:pt x="8757" y="0"/>
                    </a:cubicBezTo>
                    <a:cubicBezTo>
                      <a:pt x="13593" y="0"/>
                      <a:pt x="17513" y="3920"/>
                      <a:pt x="17513" y="875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4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211F112C-8675-460B-886A-F6FAC3AB93AC}"/>
                </a:ext>
              </a:extLst>
            </p:cNvPr>
            <p:cNvSpPr/>
            <p:nvPr/>
          </p:nvSpPr>
          <p:spPr>
            <a:xfrm>
              <a:off x="9837772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58 w 289676"/>
                <a:gd name="connsiteY5" fmla="*/ 144838 h 289675"/>
                <a:gd name="connsiteX6" fmla="*/ 144838 w 289676"/>
                <a:gd name="connsiteY6" fmla="*/ 13158 h 289675"/>
                <a:gd name="connsiteX7" fmla="*/ 276518 w 289676"/>
                <a:gd name="connsiteY7" fmla="*/ 144838 h 289675"/>
                <a:gd name="connsiteX8" fmla="*/ 144838 w 289676"/>
                <a:gd name="connsiteY8" fmla="*/ 276517 h 289675"/>
                <a:gd name="connsiteX9" fmla="*/ 13158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6"/>
                    <a:pt x="224830" y="0"/>
                    <a:pt x="144838" y="0"/>
                  </a:cubicBezTo>
                  <a:cubicBezTo>
                    <a:pt x="64846" y="0"/>
                    <a:pt x="0" y="64846"/>
                    <a:pt x="0" y="144838"/>
                  </a:cubicBezTo>
                  <a:cubicBezTo>
                    <a:pt x="0" y="224829"/>
                    <a:pt x="64846" y="289675"/>
                    <a:pt x="144838" y="289675"/>
                  </a:cubicBezTo>
                  <a:cubicBezTo>
                    <a:pt x="224830" y="289675"/>
                    <a:pt x="289676" y="224829"/>
                    <a:pt x="289676" y="144838"/>
                  </a:cubicBezTo>
                  <a:close/>
                  <a:moveTo>
                    <a:pt x="13158" y="144838"/>
                  </a:moveTo>
                  <a:cubicBezTo>
                    <a:pt x="13158" y="72135"/>
                    <a:pt x="72135" y="13158"/>
                    <a:pt x="144838" y="13158"/>
                  </a:cubicBezTo>
                  <a:cubicBezTo>
                    <a:pt x="217541" y="13158"/>
                    <a:pt x="276518" y="72135"/>
                    <a:pt x="276518" y="144838"/>
                  </a:cubicBezTo>
                  <a:cubicBezTo>
                    <a:pt x="276518" y="217540"/>
                    <a:pt x="217541" y="276517"/>
                    <a:pt x="144838" y="276517"/>
                  </a:cubicBezTo>
                  <a:cubicBezTo>
                    <a:pt x="72135" y="276517"/>
                    <a:pt x="13158" y="217540"/>
                    <a:pt x="13158" y="144838"/>
                  </a:cubicBezTo>
                  <a:close/>
                </a:path>
              </a:pathLst>
            </a:custGeom>
            <a:solidFill>
              <a:schemeClr val="accent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54C43BA1-AC99-4C4A-98E5-35FE321B2DBD}"/>
                </a:ext>
              </a:extLst>
            </p:cNvPr>
            <p:cNvSpPr/>
            <p:nvPr/>
          </p:nvSpPr>
          <p:spPr>
            <a:xfrm>
              <a:off x="9925810" y="5667979"/>
              <a:ext cx="124484" cy="118946"/>
            </a:xfrm>
            <a:custGeom>
              <a:avLst/>
              <a:gdLst>
                <a:gd name="connsiteX0" fmla="*/ 124485 w 124484"/>
                <a:gd name="connsiteY0" fmla="*/ 72939 h 118946"/>
                <a:gd name="connsiteX1" fmla="*/ 124485 w 124484"/>
                <a:gd name="connsiteY1" fmla="*/ 118947 h 118946"/>
                <a:gd name="connsiteX2" fmla="*/ 97789 w 124484"/>
                <a:gd name="connsiteY2" fmla="*/ 118947 h 118946"/>
                <a:gd name="connsiteX3" fmla="*/ 97789 w 124484"/>
                <a:gd name="connsiteY3" fmla="*/ 76016 h 118946"/>
                <a:gd name="connsiteX4" fmla="*/ 84252 w 124484"/>
                <a:gd name="connsiteY4" fmla="*/ 57888 h 118946"/>
                <a:gd name="connsiteX5" fmla="*/ 70573 w 124484"/>
                <a:gd name="connsiteY5" fmla="*/ 67638 h 118946"/>
                <a:gd name="connsiteX6" fmla="*/ 69674 w 124484"/>
                <a:gd name="connsiteY6" fmla="*/ 74123 h 118946"/>
                <a:gd name="connsiteX7" fmla="*/ 69674 w 124484"/>
                <a:gd name="connsiteY7" fmla="*/ 118947 h 118946"/>
                <a:gd name="connsiteX8" fmla="*/ 42978 w 124484"/>
                <a:gd name="connsiteY8" fmla="*/ 118947 h 118946"/>
                <a:gd name="connsiteX9" fmla="*/ 42978 w 124484"/>
                <a:gd name="connsiteY9" fmla="*/ 38671 h 118946"/>
                <a:gd name="connsiteX10" fmla="*/ 69674 w 124484"/>
                <a:gd name="connsiteY10" fmla="*/ 38671 h 118946"/>
                <a:gd name="connsiteX11" fmla="*/ 69674 w 124484"/>
                <a:gd name="connsiteY11" fmla="*/ 50030 h 118946"/>
                <a:gd name="connsiteX12" fmla="*/ 69484 w 124484"/>
                <a:gd name="connsiteY12" fmla="*/ 50267 h 118946"/>
                <a:gd name="connsiteX13" fmla="*/ 69674 w 124484"/>
                <a:gd name="connsiteY13" fmla="*/ 50267 h 118946"/>
                <a:gd name="connsiteX14" fmla="*/ 69674 w 124484"/>
                <a:gd name="connsiteY14" fmla="*/ 50030 h 118946"/>
                <a:gd name="connsiteX15" fmla="*/ 93719 w 124484"/>
                <a:gd name="connsiteY15" fmla="*/ 36777 h 118946"/>
                <a:gd name="connsiteX16" fmla="*/ 124485 w 124484"/>
                <a:gd name="connsiteY16" fmla="*/ 72939 h 118946"/>
                <a:gd name="connsiteX17" fmla="*/ 15099 w 124484"/>
                <a:gd name="connsiteY17" fmla="*/ 0 h 118946"/>
                <a:gd name="connsiteX18" fmla="*/ 0 w 124484"/>
                <a:gd name="connsiteY18" fmla="*/ 13868 h 118946"/>
                <a:gd name="connsiteX19" fmla="*/ 14768 w 124484"/>
                <a:gd name="connsiteY19" fmla="*/ 27737 h 118946"/>
                <a:gd name="connsiteX20" fmla="*/ 14957 w 124484"/>
                <a:gd name="connsiteY20" fmla="*/ 27737 h 118946"/>
                <a:gd name="connsiteX21" fmla="*/ 30056 w 124484"/>
                <a:gd name="connsiteY21" fmla="*/ 13868 h 118946"/>
                <a:gd name="connsiteX22" fmla="*/ 15099 w 124484"/>
                <a:gd name="connsiteY22" fmla="*/ 0 h 118946"/>
                <a:gd name="connsiteX23" fmla="*/ 1609 w 124484"/>
                <a:gd name="connsiteY23" fmla="*/ 118947 h 118946"/>
                <a:gd name="connsiteX24" fmla="*/ 28305 w 124484"/>
                <a:gd name="connsiteY24" fmla="*/ 118947 h 118946"/>
                <a:gd name="connsiteX25" fmla="*/ 28305 w 124484"/>
                <a:gd name="connsiteY25" fmla="*/ 38671 h 118946"/>
                <a:gd name="connsiteX26" fmla="*/ 1609 w 124484"/>
                <a:gd name="connsiteY26" fmla="*/ 38671 h 118946"/>
                <a:gd name="connsiteX27" fmla="*/ 1609 w 124484"/>
                <a:gd name="connsiteY27" fmla="*/ 118947 h 11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24484" h="118946">
                  <a:moveTo>
                    <a:pt x="124485" y="72939"/>
                  </a:moveTo>
                  <a:lnTo>
                    <a:pt x="124485" y="118947"/>
                  </a:lnTo>
                  <a:lnTo>
                    <a:pt x="97789" y="118947"/>
                  </a:lnTo>
                  <a:lnTo>
                    <a:pt x="97789" y="76016"/>
                  </a:lnTo>
                  <a:cubicBezTo>
                    <a:pt x="97789" y="65224"/>
                    <a:pt x="93908" y="57888"/>
                    <a:pt x="84252" y="57888"/>
                  </a:cubicBezTo>
                  <a:cubicBezTo>
                    <a:pt x="76868" y="57888"/>
                    <a:pt x="72514" y="62858"/>
                    <a:pt x="70573" y="67638"/>
                  </a:cubicBezTo>
                  <a:cubicBezTo>
                    <a:pt x="69863" y="69342"/>
                    <a:pt x="69674" y="71756"/>
                    <a:pt x="69674" y="74123"/>
                  </a:cubicBezTo>
                  <a:lnTo>
                    <a:pt x="69674" y="118947"/>
                  </a:lnTo>
                  <a:lnTo>
                    <a:pt x="42978" y="118947"/>
                  </a:lnTo>
                  <a:cubicBezTo>
                    <a:pt x="42978" y="118947"/>
                    <a:pt x="43357" y="46244"/>
                    <a:pt x="42978" y="38671"/>
                  </a:cubicBezTo>
                  <a:lnTo>
                    <a:pt x="69674" y="38671"/>
                  </a:lnTo>
                  <a:lnTo>
                    <a:pt x="69674" y="50030"/>
                  </a:lnTo>
                  <a:cubicBezTo>
                    <a:pt x="69626" y="50125"/>
                    <a:pt x="69532" y="50220"/>
                    <a:pt x="69484" y="50267"/>
                  </a:cubicBezTo>
                  <a:lnTo>
                    <a:pt x="69674" y="50267"/>
                  </a:lnTo>
                  <a:lnTo>
                    <a:pt x="69674" y="50030"/>
                  </a:lnTo>
                  <a:cubicBezTo>
                    <a:pt x="73224" y="44587"/>
                    <a:pt x="79566" y="36777"/>
                    <a:pt x="93719" y="36777"/>
                  </a:cubicBezTo>
                  <a:cubicBezTo>
                    <a:pt x="111326" y="36825"/>
                    <a:pt x="124485" y="48279"/>
                    <a:pt x="124485" y="72939"/>
                  </a:cubicBezTo>
                  <a:close/>
                  <a:moveTo>
                    <a:pt x="15099" y="0"/>
                  </a:moveTo>
                  <a:cubicBezTo>
                    <a:pt x="5964" y="0"/>
                    <a:pt x="0" y="6011"/>
                    <a:pt x="0" y="13868"/>
                  </a:cubicBezTo>
                  <a:cubicBezTo>
                    <a:pt x="0" y="21584"/>
                    <a:pt x="5822" y="27737"/>
                    <a:pt x="14768" y="27737"/>
                  </a:cubicBezTo>
                  <a:lnTo>
                    <a:pt x="14957" y="27737"/>
                  </a:lnTo>
                  <a:cubicBezTo>
                    <a:pt x="24282" y="27737"/>
                    <a:pt x="30056" y="21584"/>
                    <a:pt x="30056" y="13868"/>
                  </a:cubicBezTo>
                  <a:cubicBezTo>
                    <a:pt x="29867" y="6011"/>
                    <a:pt x="24234" y="0"/>
                    <a:pt x="15099" y="0"/>
                  </a:cubicBezTo>
                  <a:close/>
                  <a:moveTo>
                    <a:pt x="1609" y="118947"/>
                  </a:moveTo>
                  <a:lnTo>
                    <a:pt x="28305" y="118947"/>
                  </a:lnTo>
                  <a:lnTo>
                    <a:pt x="28305" y="38671"/>
                  </a:lnTo>
                  <a:lnTo>
                    <a:pt x="1609" y="38671"/>
                  </a:lnTo>
                  <a:lnTo>
                    <a:pt x="1609" y="118947"/>
                  </a:lnTo>
                  <a:close/>
                </a:path>
              </a:pathLst>
            </a:custGeom>
            <a:solidFill>
              <a:schemeClr val="accent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orme libre : forme 48">
              <a:extLst>
                <a:ext uri="{FF2B5EF4-FFF2-40B4-BE49-F238E27FC236}">
                  <a16:creationId xmlns:a16="http://schemas.microsoft.com/office/drawing/2014/main" id="{C61DBFB0-FB1E-41AC-BE71-5E89227A8A0D}"/>
                </a:ext>
              </a:extLst>
            </p:cNvPr>
            <p:cNvSpPr/>
            <p:nvPr/>
          </p:nvSpPr>
          <p:spPr>
            <a:xfrm>
              <a:off x="10278534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58 w 289676"/>
                <a:gd name="connsiteY5" fmla="*/ 144838 h 289675"/>
                <a:gd name="connsiteX6" fmla="*/ 144838 w 289676"/>
                <a:gd name="connsiteY6" fmla="*/ 13158 h 289675"/>
                <a:gd name="connsiteX7" fmla="*/ 276518 w 289676"/>
                <a:gd name="connsiteY7" fmla="*/ 144838 h 289675"/>
                <a:gd name="connsiteX8" fmla="*/ 144838 w 289676"/>
                <a:gd name="connsiteY8" fmla="*/ 276517 h 289675"/>
                <a:gd name="connsiteX9" fmla="*/ 13158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6"/>
                    <a:pt x="224830" y="0"/>
                    <a:pt x="144838" y="0"/>
                  </a:cubicBezTo>
                  <a:cubicBezTo>
                    <a:pt x="64846" y="0"/>
                    <a:pt x="0" y="64846"/>
                    <a:pt x="0" y="144838"/>
                  </a:cubicBezTo>
                  <a:cubicBezTo>
                    <a:pt x="0" y="224829"/>
                    <a:pt x="64846" y="289675"/>
                    <a:pt x="144838" y="289675"/>
                  </a:cubicBezTo>
                  <a:cubicBezTo>
                    <a:pt x="224830" y="289675"/>
                    <a:pt x="289676" y="224829"/>
                    <a:pt x="289676" y="144838"/>
                  </a:cubicBezTo>
                  <a:close/>
                  <a:moveTo>
                    <a:pt x="13158" y="144838"/>
                  </a:moveTo>
                  <a:cubicBezTo>
                    <a:pt x="13158" y="72135"/>
                    <a:pt x="72135" y="13158"/>
                    <a:pt x="144838" y="13158"/>
                  </a:cubicBezTo>
                  <a:cubicBezTo>
                    <a:pt x="217541" y="13158"/>
                    <a:pt x="276518" y="72135"/>
                    <a:pt x="276518" y="144838"/>
                  </a:cubicBezTo>
                  <a:cubicBezTo>
                    <a:pt x="276518" y="217540"/>
                    <a:pt x="217541" y="276517"/>
                    <a:pt x="144838" y="276517"/>
                  </a:cubicBezTo>
                  <a:cubicBezTo>
                    <a:pt x="72135" y="276517"/>
                    <a:pt x="13158" y="217540"/>
                    <a:pt x="13158" y="144838"/>
                  </a:cubicBezTo>
                  <a:close/>
                </a:path>
              </a:pathLst>
            </a:custGeom>
            <a:solidFill>
              <a:schemeClr val="accent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07DAF712-3682-4C50-8170-A06F2E41F2DA}"/>
                </a:ext>
              </a:extLst>
            </p:cNvPr>
            <p:cNvSpPr/>
            <p:nvPr/>
          </p:nvSpPr>
          <p:spPr>
            <a:xfrm>
              <a:off x="10350290" y="5683505"/>
              <a:ext cx="148529" cy="104604"/>
            </a:xfrm>
            <a:custGeom>
              <a:avLst/>
              <a:gdLst>
                <a:gd name="connsiteX0" fmla="*/ 145406 w 148529"/>
                <a:gd name="connsiteY0" fmla="*/ 16330 h 104604"/>
                <a:gd name="connsiteX1" fmla="*/ 132295 w 148529"/>
                <a:gd name="connsiteY1" fmla="*/ 3124 h 104604"/>
                <a:gd name="connsiteX2" fmla="*/ 74265 w 148529"/>
                <a:gd name="connsiteY2" fmla="*/ 0 h 104604"/>
                <a:gd name="connsiteX3" fmla="*/ 16235 w 148529"/>
                <a:gd name="connsiteY3" fmla="*/ 3124 h 104604"/>
                <a:gd name="connsiteX4" fmla="*/ 3124 w 148529"/>
                <a:gd name="connsiteY4" fmla="*/ 16330 h 104604"/>
                <a:gd name="connsiteX5" fmla="*/ 0 w 148529"/>
                <a:gd name="connsiteY5" fmla="*/ 52302 h 104604"/>
                <a:gd name="connsiteX6" fmla="*/ 3124 w 148529"/>
                <a:gd name="connsiteY6" fmla="*/ 88275 h 104604"/>
                <a:gd name="connsiteX7" fmla="*/ 16235 w 148529"/>
                <a:gd name="connsiteY7" fmla="*/ 101481 h 104604"/>
                <a:gd name="connsiteX8" fmla="*/ 74265 w 148529"/>
                <a:gd name="connsiteY8" fmla="*/ 104605 h 104604"/>
                <a:gd name="connsiteX9" fmla="*/ 132295 w 148529"/>
                <a:gd name="connsiteY9" fmla="*/ 101481 h 104604"/>
                <a:gd name="connsiteX10" fmla="*/ 145406 w 148529"/>
                <a:gd name="connsiteY10" fmla="*/ 88275 h 104604"/>
                <a:gd name="connsiteX11" fmla="*/ 148530 w 148529"/>
                <a:gd name="connsiteY11" fmla="*/ 52302 h 104604"/>
                <a:gd name="connsiteX12" fmla="*/ 145406 w 148529"/>
                <a:gd name="connsiteY12" fmla="*/ 16330 h 104604"/>
                <a:gd name="connsiteX13" fmla="*/ 59071 w 148529"/>
                <a:gd name="connsiteY13" fmla="*/ 74407 h 104604"/>
                <a:gd name="connsiteX14" fmla="*/ 59071 w 148529"/>
                <a:gd name="connsiteY14" fmla="*/ 30245 h 104604"/>
                <a:gd name="connsiteX15" fmla="*/ 97884 w 148529"/>
                <a:gd name="connsiteY15" fmla="*/ 52302 h 104604"/>
                <a:gd name="connsiteX16" fmla="*/ 59071 w 148529"/>
                <a:gd name="connsiteY16" fmla="*/ 74407 h 104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8529" h="104604">
                  <a:moveTo>
                    <a:pt x="145406" y="16330"/>
                  </a:moveTo>
                  <a:cubicBezTo>
                    <a:pt x="143702" y="9892"/>
                    <a:pt x="138685" y="4828"/>
                    <a:pt x="132295" y="3124"/>
                  </a:cubicBezTo>
                  <a:cubicBezTo>
                    <a:pt x="120698" y="0"/>
                    <a:pt x="74265" y="0"/>
                    <a:pt x="74265" y="0"/>
                  </a:cubicBezTo>
                  <a:cubicBezTo>
                    <a:pt x="74265" y="0"/>
                    <a:pt x="27832" y="0"/>
                    <a:pt x="16235" y="3124"/>
                  </a:cubicBezTo>
                  <a:cubicBezTo>
                    <a:pt x="9845" y="4828"/>
                    <a:pt x="4828" y="9892"/>
                    <a:pt x="3124" y="16330"/>
                  </a:cubicBezTo>
                  <a:cubicBezTo>
                    <a:pt x="0" y="27974"/>
                    <a:pt x="0" y="52302"/>
                    <a:pt x="0" y="52302"/>
                  </a:cubicBezTo>
                  <a:cubicBezTo>
                    <a:pt x="0" y="52302"/>
                    <a:pt x="0" y="76631"/>
                    <a:pt x="3124" y="88275"/>
                  </a:cubicBezTo>
                  <a:cubicBezTo>
                    <a:pt x="4828" y="94712"/>
                    <a:pt x="9845" y="99777"/>
                    <a:pt x="16235" y="101481"/>
                  </a:cubicBezTo>
                  <a:cubicBezTo>
                    <a:pt x="27832" y="104605"/>
                    <a:pt x="74265" y="104605"/>
                    <a:pt x="74265" y="104605"/>
                  </a:cubicBezTo>
                  <a:cubicBezTo>
                    <a:pt x="74265" y="104605"/>
                    <a:pt x="120698" y="104605"/>
                    <a:pt x="132295" y="101481"/>
                  </a:cubicBezTo>
                  <a:cubicBezTo>
                    <a:pt x="138685" y="99777"/>
                    <a:pt x="143702" y="94712"/>
                    <a:pt x="145406" y="88275"/>
                  </a:cubicBezTo>
                  <a:cubicBezTo>
                    <a:pt x="148530" y="76631"/>
                    <a:pt x="148530" y="52302"/>
                    <a:pt x="148530" y="52302"/>
                  </a:cubicBezTo>
                  <a:cubicBezTo>
                    <a:pt x="148530" y="52302"/>
                    <a:pt x="148483" y="28021"/>
                    <a:pt x="145406" y="16330"/>
                  </a:cubicBezTo>
                  <a:close/>
                  <a:moveTo>
                    <a:pt x="59071" y="74407"/>
                  </a:moveTo>
                  <a:lnTo>
                    <a:pt x="59071" y="30245"/>
                  </a:lnTo>
                  <a:lnTo>
                    <a:pt x="97884" y="52302"/>
                  </a:lnTo>
                  <a:lnTo>
                    <a:pt x="59071" y="74407"/>
                  </a:lnTo>
                  <a:close/>
                </a:path>
              </a:pathLst>
            </a:custGeom>
            <a:solidFill>
              <a:schemeClr val="accent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D3820242-CA68-4516-96F5-BD003E9FDBAA}"/>
                </a:ext>
              </a:extLst>
            </p:cNvPr>
            <p:cNvSpPr/>
            <p:nvPr/>
          </p:nvSpPr>
          <p:spPr>
            <a:xfrm>
              <a:off x="10719297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58 w 289676"/>
                <a:gd name="connsiteY5" fmla="*/ 144838 h 289675"/>
                <a:gd name="connsiteX6" fmla="*/ 144838 w 289676"/>
                <a:gd name="connsiteY6" fmla="*/ 13158 h 289675"/>
                <a:gd name="connsiteX7" fmla="*/ 276518 w 289676"/>
                <a:gd name="connsiteY7" fmla="*/ 144838 h 289675"/>
                <a:gd name="connsiteX8" fmla="*/ 144838 w 289676"/>
                <a:gd name="connsiteY8" fmla="*/ 276517 h 289675"/>
                <a:gd name="connsiteX9" fmla="*/ 13158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6"/>
                    <a:pt x="224830" y="0"/>
                    <a:pt x="144838" y="0"/>
                  </a:cubicBezTo>
                  <a:cubicBezTo>
                    <a:pt x="64846" y="0"/>
                    <a:pt x="0" y="64846"/>
                    <a:pt x="0" y="144838"/>
                  </a:cubicBezTo>
                  <a:cubicBezTo>
                    <a:pt x="0" y="224829"/>
                    <a:pt x="64846" y="289675"/>
                    <a:pt x="144838" y="289675"/>
                  </a:cubicBezTo>
                  <a:cubicBezTo>
                    <a:pt x="224830" y="289675"/>
                    <a:pt x="289676" y="224829"/>
                    <a:pt x="289676" y="144838"/>
                  </a:cubicBezTo>
                  <a:close/>
                  <a:moveTo>
                    <a:pt x="13158" y="144838"/>
                  </a:moveTo>
                  <a:cubicBezTo>
                    <a:pt x="13158" y="72135"/>
                    <a:pt x="72135" y="13158"/>
                    <a:pt x="144838" y="13158"/>
                  </a:cubicBezTo>
                  <a:cubicBezTo>
                    <a:pt x="217541" y="13158"/>
                    <a:pt x="276518" y="72135"/>
                    <a:pt x="276518" y="144838"/>
                  </a:cubicBezTo>
                  <a:cubicBezTo>
                    <a:pt x="276518" y="217540"/>
                    <a:pt x="217541" y="276517"/>
                    <a:pt x="144838" y="276517"/>
                  </a:cubicBezTo>
                  <a:cubicBezTo>
                    <a:pt x="72135" y="276517"/>
                    <a:pt x="13158" y="217540"/>
                    <a:pt x="13158" y="144838"/>
                  </a:cubicBezTo>
                  <a:close/>
                </a:path>
              </a:pathLst>
            </a:custGeom>
            <a:solidFill>
              <a:schemeClr val="accent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86C01E12-05F9-4681-A6C0-2C84EF6393B1}"/>
                </a:ext>
              </a:extLst>
            </p:cNvPr>
            <p:cNvSpPr/>
            <p:nvPr/>
          </p:nvSpPr>
          <p:spPr>
            <a:xfrm>
              <a:off x="9463871" y="5667392"/>
              <a:ext cx="155965" cy="133701"/>
            </a:xfrm>
            <a:custGeom>
              <a:avLst/>
              <a:gdLst>
                <a:gd name="connsiteX0" fmla="*/ 140086 w 155965"/>
                <a:gd name="connsiteY0" fmla="*/ 38057 h 133701"/>
                <a:gd name="connsiteX1" fmla="*/ 139994 w 155965"/>
                <a:gd name="connsiteY1" fmla="*/ 33712 h 133701"/>
                <a:gd name="connsiteX2" fmla="*/ 155965 w 155965"/>
                <a:gd name="connsiteY2" fmla="*/ 16542 h 133701"/>
                <a:gd name="connsiteX3" fmla="*/ 137584 w 155965"/>
                <a:gd name="connsiteY3" fmla="*/ 21572 h 133701"/>
                <a:gd name="connsiteX4" fmla="*/ 151660 w 155965"/>
                <a:gd name="connsiteY4" fmla="*/ 3191 h 133701"/>
                <a:gd name="connsiteX5" fmla="*/ 131343 w 155965"/>
                <a:gd name="connsiteY5" fmla="*/ 11025 h 133701"/>
                <a:gd name="connsiteX6" fmla="*/ 107984 w 155965"/>
                <a:gd name="connsiteY6" fmla="*/ 4 h 133701"/>
                <a:gd name="connsiteX7" fmla="*/ 75988 w 155965"/>
                <a:gd name="connsiteY7" fmla="*/ 33356 h 133701"/>
                <a:gd name="connsiteX8" fmla="*/ 76817 w 155965"/>
                <a:gd name="connsiteY8" fmla="*/ 41085 h 133701"/>
                <a:gd name="connsiteX9" fmla="*/ 10850 w 155965"/>
                <a:gd name="connsiteY9" fmla="*/ 4639 h 133701"/>
                <a:gd name="connsiteX10" fmla="*/ 6518 w 155965"/>
                <a:gd name="connsiteY10" fmla="*/ 21756 h 133701"/>
                <a:gd name="connsiteX11" fmla="*/ 20752 w 155965"/>
                <a:gd name="connsiteY11" fmla="*/ 50355 h 133701"/>
                <a:gd name="connsiteX12" fmla="*/ 6255 w 155965"/>
                <a:gd name="connsiteY12" fmla="*/ 45918 h 133701"/>
                <a:gd name="connsiteX13" fmla="*/ 6255 w 155965"/>
                <a:gd name="connsiteY13" fmla="*/ 46352 h 133701"/>
                <a:gd name="connsiteX14" fmla="*/ 31931 w 155965"/>
                <a:gd name="connsiteY14" fmla="*/ 80033 h 133701"/>
                <a:gd name="connsiteX15" fmla="*/ 23504 w 155965"/>
                <a:gd name="connsiteY15" fmla="*/ 81179 h 133701"/>
                <a:gd name="connsiteX16" fmla="*/ 17486 w 155965"/>
                <a:gd name="connsiteY16" fmla="*/ 80521 h 133701"/>
                <a:gd name="connsiteX17" fmla="*/ 47375 w 155965"/>
                <a:gd name="connsiteY17" fmla="*/ 104340 h 133701"/>
                <a:gd name="connsiteX18" fmla="*/ 7637 w 155965"/>
                <a:gd name="connsiteY18" fmla="*/ 118810 h 133701"/>
                <a:gd name="connsiteX19" fmla="*/ 0 w 155965"/>
                <a:gd name="connsiteY19" fmla="*/ 118323 h 133701"/>
                <a:gd name="connsiteX20" fmla="*/ 49060 w 155965"/>
                <a:gd name="connsiteY20" fmla="*/ 133702 h 133701"/>
                <a:gd name="connsiteX21" fmla="*/ 140086 w 155965"/>
                <a:gd name="connsiteY21" fmla="*/ 38057 h 133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5965" h="133701">
                  <a:moveTo>
                    <a:pt x="140086" y="38057"/>
                  </a:moveTo>
                  <a:cubicBezTo>
                    <a:pt x="140086" y="36595"/>
                    <a:pt x="140059" y="35147"/>
                    <a:pt x="139994" y="33712"/>
                  </a:cubicBezTo>
                  <a:cubicBezTo>
                    <a:pt x="146248" y="29051"/>
                    <a:pt x="151673" y="23218"/>
                    <a:pt x="155965" y="16542"/>
                  </a:cubicBezTo>
                  <a:cubicBezTo>
                    <a:pt x="150224" y="19123"/>
                    <a:pt x="144062" y="20848"/>
                    <a:pt x="137584" y="21572"/>
                  </a:cubicBezTo>
                  <a:cubicBezTo>
                    <a:pt x="144194" y="17503"/>
                    <a:pt x="149263" y="10999"/>
                    <a:pt x="151660" y="3191"/>
                  </a:cubicBezTo>
                  <a:cubicBezTo>
                    <a:pt x="145471" y="6943"/>
                    <a:pt x="138624" y="9629"/>
                    <a:pt x="131343" y="11025"/>
                  </a:cubicBezTo>
                  <a:cubicBezTo>
                    <a:pt x="125510" y="4389"/>
                    <a:pt x="117188" y="162"/>
                    <a:pt x="107984" y="4"/>
                  </a:cubicBezTo>
                  <a:cubicBezTo>
                    <a:pt x="90314" y="-286"/>
                    <a:pt x="75988" y="14646"/>
                    <a:pt x="75988" y="33356"/>
                  </a:cubicBezTo>
                  <a:cubicBezTo>
                    <a:pt x="75988" y="36016"/>
                    <a:pt x="76264" y="38597"/>
                    <a:pt x="76817" y="41085"/>
                  </a:cubicBezTo>
                  <a:cubicBezTo>
                    <a:pt x="50207" y="39373"/>
                    <a:pt x="26625" y="25522"/>
                    <a:pt x="10850" y="4639"/>
                  </a:cubicBezTo>
                  <a:cubicBezTo>
                    <a:pt x="8098" y="9642"/>
                    <a:pt x="6518" y="15489"/>
                    <a:pt x="6518" y="21756"/>
                  </a:cubicBezTo>
                  <a:cubicBezTo>
                    <a:pt x="6518" y="33607"/>
                    <a:pt x="12167" y="44140"/>
                    <a:pt x="20752" y="50355"/>
                  </a:cubicBezTo>
                  <a:cubicBezTo>
                    <a:pt x="15498" y="50118"/>
                    <a:pt x="10574" y="48525"/>
                    <a:pt x="6255" y="45918"/>
                  </a:cubicBezTo>
                  <a:cubicBezTo>
                    <a:pt x="6255" y="46062"/>
                    <a:pt x="6255" y="46207"/>
                    <a:pt x="6255" y="46352"/>
                  </a:cubicBezTo>
                  <a:cubicBezTo>
                    <a:pt x="6255" y="62917"/>
                    <a:pt x="17289" y="76795"/>
                    <a:pt x="31931" y="80033"/>
                  </a:cubicBezTo>
                  <a:cubicBezTo>
                    <a:pt x="29244" y="80797"/>
                    <a:pt x="26414" y="81192"/>
                    <a:pt x="23504" y="81179"/>
                  </a:cubicBezTo>
                  <a:cubicBezTo>
                    <a:pt x="21436" y="81166"/>
                    <a:pt x="19435" y="80942"/>
                    <a:pt x="17486" y="80521"/>
                  </a:cubicBezTo>
                  <a:cubicBezTo>
                    <a:pt x="21555" y="94096"/>
                    <a:pt x="33379" y="104011"/>
                    <a:pt x="47375" y="104340"/>
                  </a:cubicBezTo>
                  <a:cubicBezTo>
                    <a:pt x="36420" y="113425"/>
                    <a:pt x="22621" y="118849"/>
                    <a:pt x="7637" y="118810"/>
                  </a:cubicBezTo>
                  <a:cubicBezTo>
                    <a:pt x="5056" y="118810"/>
                    <a:pt x="2502" y="118639"/>
                    <a:pt x="0" y="118323"/>
                  </a:cubicBezTo>
                  <a:cubicBezTo>
                    <a:pt x="14168" y="128040"/>
                    <a:pt x="30982" y="133702"/>
                    <a:pt x="49060" y="133702"/>
                  </a:cubicBezTo>
                  <a:cubicBezTo>
                    <a:pt x="107905" y="133716"/>
                    <a:pt x="140086" y="82496"/>
                    <a:pt x="140086" y="38057"/>
                  </a:cubicBezTo>
                  <a:close/>
                </a:path>
              </a:pathLst>
            </a:custGeom>
            <a:solidFill>
              <a:schemeClr val="accent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18498A8F-3E30-41EC-87A7-3A4ED9AB40DB}"/>
                </a:ext>
              </a:extLst>
            </p:cNvPr>
            <p:cNvSpPr/>
            <p:nvPr/>
          </p:nvSpPr>
          <p:spPr>
            <a:xfrm>
              <a:off x="9397010" y="5589408"/>
              <a:ext cx="289676" cy="289675"/>
            </a:xfrm>
            <a:custGeom>
              <a:avLst/>
              <a:gdLst>
                <a:gd name="connsiteX0" fmla="*/ 289676 w 289676"/>
                <a:gd name="connsiteY0" fmla="*/ 144838 h 289675"/>
                <a:gd name="connsiteX1" fmla="*/ 144838 w 289676"/>
                <a:gd name="connsiteY1" fmla="*/ 0 h 289675"/>
                <a:gd name="connsiteX2" fmla="*/ 0 w 289676"/>
                <a:gd name="connsiteY2" fmla="*/ 144838 h 289675"/>
                <a:gd name="connsiteX3" fmla="*/ 144838 w 289676"/>
                <a:gd name="connsiteY3" fmla="*/ 289675 h 289675"/>
                <a:gd name="connsiteX4" fmla="*/ 289676 w 289676"/>
                <a:gd name="connsiteY4" fmla="*/ 144838 h 289675"/>
                <a:gd name="connsiteX5" fmla="*/ 13167 w 289676"/>
                <a:gd name="connsiteY5" fmla="*/ 144838 h 289675"/>
                <a:gd name="connsiteX6" fmla="*/ 144838 w 289676"/>
                <a:gd name="connsiteY6" fmla="*/ 13167 h 289675"/>
                <a:gd name="connsiteX7" fmla="*/ 276509 w 289676"/>
                <a:gd name="connsiteY7" fmla="*/ 144838 h 289675"/>
                <a:gd name="connsiteX8" fmla="*/ 144838 w 289676"/>
                <a:gd name="connsiteY8" fmla="*/ 276508 h 289675"/>
                <a:gd name="connsiteX9" fmla="*/ 13167 w 289676"/>
                <a:gd name="connsiteY9" fmla="*/ 144838 h 28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676" h="289675">
                  <a:moveTo>
                    <a:pt x="289676" y="144838"/>
                  </a:moveTo>
                  <a:cubicBezTo>
                    <a:pt x="289676" y="64847"/>
                    <a:pt x="224828" y="0"/>
                    <a:pt x="144838" y="0"/>
                  </a:cubicBezTo>
                  <a:cubicBezTo>
                    <a:pt x="64848" y="0"/>
                    <a:pt x="0" y="64847"/>
                    <a:pt x="0" y="144838"/>
                  </a:cubicBezTo>
                  <a:cubicBezTo>
                    <a:pt x="0" y="224827"/>
                    <a:pt x="64848" y="289675"/>
                    <a:pt x="144838" y="289675"/>
                  </a:cubicBezTo>
                  <a:cubicBezTo>
                    <a:pt x="224828" y="289675"/>
                    <a:pt x="289676" y="224827"/>
                    <a:pt x="289676" y="144838"/>
                  </a:cubicBezTo>
                  <a:close/>
                  <a:moveTo>
                    <a:pt x="13167" y="144838"/>
                  </a:moveTo>
                  <a:cubicBezTo>
                    <a:pt x="13167" y="72116"/>
                    <a:pt x="72116" y="13167"/>
                    <a:pt x="144838" y="13167"/>
                  </a:cubicBezTo>
                  <a:cubicBezTo>
                    <a:pt x="217560" y="13167"/>
                    <a:pt x="276509" y="72116"/>
                    <a:pt x="276509" y="144838"/>
                  </a:cubicBezTo>
                  <a:cubicBezTo>
                    <a:pt x="276509" y="217559"/>
                    <a:pt x="217560" y="276508"/>
                    <a:pt x="144838" y="276508"/>
                  </a:cubicBezTo>
                  <a:cubicBezTo>
                    <a:pt x="72116" y="276508"/>
                    <a:pt x="13167" y="217559"/>
                    <a:pt x="13167" y="144838"/>
                  </a:cubicBezTo>
                  <a:close/>
                </a:path>
              </a:pathLst>
            </a:custGeom>
            <a:solidFill>
              <a:schemeClr val="accent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30E96428-9C4C-4102-ADB1-F3F4994CCEAE}"/>
                </a:ext>
              </a:extLst>
            </p:cNvPr>
            <p:cNvSpPr/>
            <p:nvPr/>
          </p:nvSpPr>
          <p:spPr>
            <a:xfrm>
              <a:off x="9062190" y="5650872"/>
              <a:ext cx="77935" cy="166970"/>
            </a:xfrm>
            <a:custGeom>
              <a:avLst/>
              <a:gdLst>
                <a:gd name="connsiteX0" fmla="*/ 44452 w 77935"/>
                <a:gd name="connsiteY0" fmla="*/ 166971 h 166970"/>
                <a:gd name="connsiteX1" fmla="*/ 44452 w 77935"/>
                <a:gd name="connsiteY1" fmla="*/ 83373 h 166970"/>
                <a:gd name="connsiteX2" fmla="*/ 72037 w 77935"/>
                <a:gd name="connsiteY2" fmla="*/ 83373 h 166970"/>
                <a:gd name="connsiteX3" fmla="*/ 76395 w 77935"/>
                <a:gd name="connsiteY3" fmla="*/ 55670 h 166970"/>
                <a:gd name="connsiteX4" fmla="*/ 44452 w 77935"/>
                <a:gd name="connsiteY4" fmla="*/ 55670 h 166970"/>
                <a:gd name="connsiteX5" fmla="*/ 44452 w 77935"/>
                <a:gd name="connsiteY5" fmla="*/ 41779 h 166970"/>
                <a:gd name="connsiteX6" fmla="*/ 57198 w 77935"/>
                <a:gd name="connsiteY6" fmla="*/ 27651 h 166970"/>
                <a:gd name="connsiteX7" fmla="*/ 77936 w 77935"/>
                <a:gd name="connsiteY7" fmla="*/ 27651 h 166970"/>
                <a:gd name="connsiteX8" fmla="*/ 77936 w 77935"/>
                <a:gd name="connsiteY8" fmla="*/ 0 h 166970"/>
                <a:gd name="connsiteX9" fmla="*/ 48494 w 77935"/>
                <a:gd name="connsiteY9" fmla="*/ 0 h 166970"/>
                <a:gd name="connsiteX10" fmla="*/ 16985 w 77935"/>
                <a:gd name="connsiteY10" fmla="*/ 38895 h 166970"/>
                <a:gd name="connsiteX11" fmla="*/ 16985 w 77935"/>
                <a:gd name="connsiteY11" fmla="*/ 55657 h 166970"/>
                <a:gd name="connsiteX12" fmla="*/ 0 w 77935"/>
                <a:gd name="connsiteY12" fmla="*/ 55657 h 166970"/>
                <a:gd name="connsiteX13" fmla="*/ 0 w 77935"/>
                <a:gd name="connsiteY13" fmla="*/ 83373 h 166970"/>
                <a:gd name="connsiteX14" fmla="*/ 16985 w 77935"/>
                <a:gd name="connsiteY14" fmla="*/ 83373 h 166970"/>
                <a:gd name="connsiteX15" fmla="*/ 16985 w 77935"/>
                <a:gd name="connsiteY15" fmla="*/ 166971 h 166970"/>
                <a:gd name="connsiteX16" fmla="*/ 44452 w 77935"/>
                <a:gd name="connsiteY16" fmla="*/ 166971 h 166970"/>
                <a:gd name="connsiteX17" fmla="*/ 44452 w 77935"/>
                <a:gd name="connsiteY17" fmla="*/ 166971 h 166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7935" h="166970">
                  <a:moveTo>
                    <a:pt x="44452" y="166971"/>
                  </a:moveTo>
                  <a:lnTo>
                    <a:pt x="44452" y="83373"/>
                  </a:lnTo>
                  <a:lnTo>
                    <a:pt x="72037" y="83373"/>
                  </a:lnTo>
                  <a:lnTo>
                    <a:pt x="76395" y="55670"/>
                  </a:lnTo>
                  <a:lnTo>
                    <a:pt x="44452" y="55670"/>
                  </a:lnTo>
                  <a:lnTo>
                    <a:pt x="44452" y="41779"/>
                  </a:lnTo>
                  <a:cubicBezTo>
                    <a:pt x="44452" y="34550"/>
                    <a:pt x="46822" y="27651"/>
                    <a:pt x="57198" y="27651"/>
                  </a:cubicBezTo>
                  <a:lnTo>
                    <a:pt x="77936" y="27651"/>
                  </a:lnTo>
                  <a:lnTo>
                    <a:pt x="77936" y="0"/>
                  </a:lnTo>
                  <a:lnTo>
                    <a:pt x="48494" y="0"/>
                  </a:lnTo>
                  <a:cubicBezTo>
                    <a:pt x="23740" y="0"/>
                    <a:pt x="16985" y="16300"/>
                    <a:pt x="16985" y="38895"/>
                  </a:cubicBezTo>
                  <a:lnTo>
                    <a:pt x="16985" y="55657"/>
                  </a:lnTo>
                  <a:lnTo>
                    <a:pt x="0" y="55657"/>
                  </a:lnTo>
                  <a:lnTo>
                    <a:pt x="0" y="83373"/>
                  </a:lnTo>
                  <a:lnTo>
                    <a:pt x="16985" y="83373"/>
                  </a:lnTo>
                  <a:lnTo>
                    <a:pt x="16985" y="166971"/>
                  </a:lnTo>
                  <a:lnTo>
                    <a:pt x="44452" y="166971"/>
                  </a:lnTo>
                  <a:lnTo>
                    <a:pt x="44452" y="166971"/>
                  </a:lnTo>
                  <a:close/>
                </a:path>
              </a:pathLst>
            </a:custGeom>
            <a:solidFill>
              <a:schemeClr val="accent1"/>
            </a:solidFill>
            <a:ln w="4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Ellipse 54">
              <a:hlinkClick r:id="rId4"/>
              <a:extLst>
                <a:ext uri="{FF2B5EF4-FFF2-40B4-BE49-F238E27FC236}">
                  <a16:creationId xmlns:a16="http://schemas.microsoft.com/office/drawing/2014/main" id="{9949496E-5C35-45F7-ABBE-0A8A2F45757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54324" y="5587483"/>
              <a:ext cx="291600" cy="291600"/>
            </a:xfrm>
            <a:prstGeom prst="ellipse">
              <a:avLst/>
            </a:prstGeom>
            <a:solidFill>
              <a:schemeClr val="tx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Ellipse 55">
              <a:hlinkClick r:id="rId5"/>
              <a:extLst>
                <a:ext uri="{FF2B5EF4-FFF2-40B4-BE49-F238E27FC236}">
                  <a16:creationId xmlns:a16="http://schemas.microsoft.com/office/drawing/2014/main" id="{37ADF989-C764-46D6-A4E9-315186C170E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395086" y="5587483"/>
              <a:ext cx="291600" cy="291600"/>
            </a:xfrm>
            <a:prstGeom prst="ellipse">
              <a:avLst/>
            </a:prstGeom>
            <a:solidFill>
              <a:schemeClr val="tx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Ellipse 56">
              <a:hlinkClick r:id="rId6"/>
              <a:extLst>
                <a:ext uri="{FF2B5EF4-FFF2-40B4-BE49-F238E27FC236}">
                  <a16:creationId xmlns:a16="http://schemas.microsoft.com/office/drawing/2014/main" id="{89EE5191-4B49-4700-8A9A-EF39E69810D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835848" y="5587483"/>
              <a:ext cx="291600" cy="291600"/>
            </a:xfrm>
            <a:prstGeom prst="ellipse">
              <a:avLst/>
            </a:prstGeom>
            <a:solidFill>
              <a:schemeClr val="tx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Ellipse 57">
              <a:hlinkClick r:id="rId7"/>
              <a:extLst>
                <a:ext uri="{FF2B5EF4-FFF2-40B4-BE49-F238E27FC236}">
                  <a16:creationId xmlns:a16="http://schemas.microsoft.com/office/drawing/2014/main" id="{C7EE8AE1-34C8-4C56-AA33-8FDC0956D3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276610" y="5587483"/>
              <a:ext cx="291600" cy="291600"/>
            </a:xfrm>
            <a:prstGeom prst="ellipse">
              <a:avLst/>
            </a:prstGeom>
            <a:solidFill>
              <a:schemeClr val="tx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Ellipse 58">
              <a:hlinkClick r:id="rId8"/>
              <a:extLst>
                <a:ext uri="{FF2B5EF4-FFF2-40B4-BE49-F238E27FC236}">
                  <a16:creationId xmlns:a16="http://schemas.microsoft.com/office/drawing/2014/main" id="{D4582542-2A0B-4C9A-93F7-FD7E2306D05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717373" y="5587483"/>
              <a:ext cx="291600" cy="291600"/>
            </a:xfrm>
            <a:prstGeom prst="ellipse">
              <a:avLst/>
            </a:prstGeom>
            <a:solidFill>
              <a:schemeClr val="tx2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69981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66667E-6 4.81481E-6 L 1.66667E-6 0.05162 " pathEditMode="relative" rAng="0" ptsTypes="AA">
                                      <p:cBhvr>
                                        <p:cTn id="30" dur="75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69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66667E-6 4.81481E-6 L 1.66667E-6 0.05162 " pathEditMode="relative" rAng="0" ptsTypes="AA">
                                      <p:cBhvr>
                                        <p:cTn id="35" dur="75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69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40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3" presetClass="path" presetSubtype="0" decel="100000" fill="hold" grpId="1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45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63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50" dur="75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3" presetClass="path" presetSubtype="0" decel="100000" fill="hold" grpId="1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55" dur="7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63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60" dur="75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63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65" dur="75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2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63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70" dur="75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63" presetClass="path" presetSubtype="0" decel="100000" fill="hold" grpId="1" nodeType="withEffect">
                                  <p:stCondLst>
                                    <p:cond delay="3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75" dur="7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2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63" presetClass="path" presetSubtype="0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80" dur="75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2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3" presetClass="path" presetSubtype="0" decel="100000" fill="hold" grpId="1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85" dur="75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25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63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90" dur="75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25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63" presetClass="path" presetSubtype="0" decel="100000" fill="hold" grpId="1" nodeType="withEffect">
                                  <p:stCondLst>
                                    <p:cond delay="5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95" dur="75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2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63" presetClass="path" presetSubtype="0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100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25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63" presetClass="path" presetSubtype="0" decel="100000" fill="hold" grpId="1" nodeType="withEffect">
                                  <p:stCondLst>
                                    <p:cond delay="65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105" dur="75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25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771 -4.81481E-6 L 5E-6 -4.81481E-6 " pathEditMode="relative" rAng="0" ptsTypes="AA">
                                      <p:cBhvr>
                                        <p:cTn id="110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" y="0"/>
                                    </p:animMotion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1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2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3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4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5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6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/>
      <p:bldP spid="96" grpId="1" animBg="1"/>
      <p:bldP spid="94" grpId="0" animBg="1"/>
      <p:bldP spid="94" grpId="1" animBg="1"/>
      <p:bldP spid="92" grpId="0" animBg="1"/>
      <p:bldP spid="92" grpId="1" animBg="1"/>
      <p:bldP spid="90" grpId="0" animBg="1"/>
      <p:bldP spid="90" grpId="1" animBg="1"/>
      <p:bldP spid="88" grpId="0" animBg="1"/>
      <p:bldP spid="88" grpId="1" animBg="1"/>
      <p:bldP spid="86" grpId="0" animBg="1"/>
      <p:bldP spid="86" grpId="1" animBg="1"/>
      <p:bldP spid="84" grpId="0" animBg="1"/>
      <p:bldP spid="84" grpId="1" animBg="1"/>
      <p:bldP spid="82" grpId="0" animBg="1"/>
      <p:bldP spid="82" grpId="1" animBg="1"/>
      <p:bldP spid="79" grpId="0" animBg="1"/>
      <p:bldP spid="79" grpId="1" animBg="1"/>
      <p:bldP spid="77" grpId="0" animBg="1"/>
      <p:bldP spid="77" grpId="1" animBg="1"/>
      <p:bldP spid="75" grpId="0" animBg="1"/>
      <p:bldP spid="75" grpId="1" animBg="1"/>
      <p:bldP spid="73" grpId="0" animBg="1"/>
      <p:bldP spid="73" grpId="1" animBg="1"/>
      <p:bldP spid="71" grpId="0" animBg="1"/>
      <p:bldP spid="71" grpId="1" animBg="1"/>
      <p:bldP spid="69" grpId="0" animBg="1"/>
      <p:bldP spid="69" grpId="1" animBg="1"/>
      <p:bldP spid="67" grpId="0" animBg="1"/>
      <p:bldP spid="67" grpId="1" animBg="1"/>
      <p:bldP spid="4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gradFill>
          <a:gsLst>
            <a:gs pos="0">
              <a:srgbClr val="430099"/>
            </a:gs>
            <a:gs pos="75000">
              <a:schemeClr val="tx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Espace réservé pour une image  29">
            <a:extLst>
              <a:ext uri="{FF2B5EF4-FFF2-40B4-BE49-F238E27FC236}">
                <a16:creationId xmlns:a16="http://schemas.microsoft.com/office/drawing/2014/main" id="{F6DAC189-D5D7-49DF-938F-FE05A427BC5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103788" y="0"/>
            <a:ext cx="7088212" cy="6858000"/>
          </a:xfrm>
          <a:custGeom>
            <a:avLst/>
            <a:gdLst>
              <a:gd name="connsiteX0" fmla="*/ 7088212 w 7088212"/>
              <a:gd name="connsiteY0" fmla="*/ 2316551 h 6858000"/>
              <a:gd name="connsiteX1" fmla="*/ 7088212 w 7088212"/>
              <a:gd name="connsiteY1" fmla="*/ 3270182 h 6858000"/>
              <a:gd name="connsiteX2" fmla="*/ 7088212 w 7088212"/>
              <a:gd name="connsiteY2" fmla="*/ 3597980 h 6858000"/>
              <a:gd name="connsiteX3" fmla="*/ 7088212 w 7088212"/>
              <a:gd name="connsiteY3" fmla="*/ 4546633 h 6858000"/>
              <a:gd name="connsiteX4" fmla="*/ 6546184 w 7088212"/>
              <a:gd name="connsiteY4" fmla="*/ 3434544 h 6858000"/>
              <a:gd name="connsiteX5" fmla="*/ 7088212 w 7088212"/>
              <a:gd name="connsiteY5" fmla="*/ 1297052 h 6858000"/>
              <a:gd name="connsiteX6" fmla="*/ 7088212 w 7088212"/>
              <a:gd name="connsiteY6" fmla="*/ 2251081 h 6858000"/>
              <a:gd name="connsiteX7" fmla="*/ 6514644 w 7088212"/>
              <a:gd name="connsiteY7" fmla="*/ 3434545 h 6858000"/>
              <a:gd name="connsiteX8" fmla="*/ 7088212 w 7088212"/>
              <a:gd name="connsiteY8" fmla="*/ 4611344 h 6858000"/>
              <a:gd name="connsiteX9" fmla="*/ 7088212 w 7088212"/>
              <a:gd name="connsiteY9" fmla="*/ 5559997 h 6858000"/>
              <a:gd name="connsiteX10" fmla="*/ 6052274 w 7088212"/>
              <a:gd name="connsiteY10" fmla="*/ 3434545 h 6858000"/>
              <a:gd name="connsiteX11" fmla="*/ 7088212 w 7088212"/>
              <a:gd name="connsiteY11" fmla="*/ 286451 h 6858000"/>
              <a:gd name="connsiteX12" fmla="*/ 7088212 w 7088212"/>
              <a:gd name="connsiteY12" fmla="*/ 1223092 h 6858000"/>
              <a:gd name="connsiteX13" fmla="*/ 6016431 w 7088212"/>
              <a:gd name="connsiteY13" fmla="*/ 3434543 h 6858000"/>
              <a:gd name="connsiteX14" fmla="*/ 7088212 w 7088212"/>
              <a:gd name="connsiteY14" fmla="*/ 5633535 h 6858000"/>
              <a:gd name="connsiteX15" fmla="*/ 7088212 w 7088212"/>
              <a:gd name="connsiteY15" fmla="*/ 6566009 h 6858000"/>
              <a:gd name="connsiteX16" fmla="*/ 5561946 w 7088212"/>
              <a:gd name="connsiteY16" fmla="*/ 3434543 h 6858000"/>
              <a:gd name="connsiteX17" fmla="*/ 6736761 w 7088212"/>
              <a:gd name="connsiteY17" fmla="*/ 1 h 6858000"/>
              <a:gd name="connsiteX18" fmla="*/ 7088212 w 7088212"/>
              <a:gd name="connsiteY18" fmla="*/ 1 h 6858000"/>
              <a:gd name="connsiteX19" fmla="*/ 7088212 w 7088212"/>
              <a:gd name="connsiteY19" fmla="*/ 195109 h 6858000"/>
              <a:gd name="connsiteX20" fmla="*/ 5518218 w 7088212"/>
              <a:gd name="connsiteY20" fmla="*/ 3434542 h 6858000"/>
              <a:gd name="connsiteX21" fmla="*/ 7088212 w 7088212"/>
              <a:gd name="connsiteY21" fmla="*/ 6655729 h 6858000"/>
              <a:gd name="connsiteX22" fmla="*/ 7088212 w 7088212"/>
              <a:gd name="connsiteY22" fmla="*/ 6858000 h 6858000"/>
              <a:gd name="connsiteX23" fmla="*/ 6740201 w 7088212"/>
              <a:gd name="connsiteY23" fmla="*/ 6858000 h 6858000"/>
              <a:gd name="connsiteX24" fmla="*/ 5071618 w 7088212"/>
              <a:gd name="connsiteY24" fmla="*/ 3434542 h 6858000"/>
              <a:gd name="connsiteX25" fmla="*/ 6238549 w 7088212"/>
              <a:gd name="connsiteY25" fmla="*/ 1 h 6858000"/>
              <a:gd name="connsiteX26" fmla="*/ 6692444 w 7088212"/>
              <a:gd name="connsiteY26" fmla="*/ 1 h 6858000"/>
              <a:gd name="connsiteX27" fmla="*/ 5027891 w 7088212"/>
              <a:gd name="connsiteY27" fmla="*/ 3434542 h 6858000"/>
              <a:gd name="connsiteX28" fmla="*/ 6696474 w 7088212"/>
              <a:gd name="connsiteY28" fmla="*/ 6858000 h 6858000"/>
              <a:gd name="connsiteX29" fmla="*/ 6241989 w 7088212"/>
              <a:gd name="connsiteY29" fmla="*/ 6858000 h 6858000"/>
              <a:gd name="connsiteX30" fmla="*/ 4573406 w 7088212"/>
              <a:gd name="connsiteY30" fmla="*/ 3434542 h 6858000"/>
              <a:gd name="connsiteX31" fmla="*/ 5748221 w 7088212"/>
              <a:gd name="connsiteY31" fmla="*/ 1 h 6858000"/>
              <a:gd name="connsiteX32" fmla="*/ 6194231 w 7088212"/>
              <a:gd name="connsiteY32" fmla="*/ 1 h 6858000"/>
              <a:gd name="connsiteX33" fmla="*/ 4529678 w 7088212"/>
              <a:gd name="connsiteY33" fmla="*/ 3434542 h 6858000"/>
              <a:gd name="connsiteX34" fmla="*/ 6198261 w 7088212"/>
              <a:gd name="connsiteY34" fmla="*/ 6858000 h 6858000"/>
              <a:gd name="connsiteX35" fmla="*/ 5751661 w 7088212"/>
              <a:gd name="connsiteY35" fmla="*/ 6858000 h 6858000"/>
              <a:gd name="connsiteX36" fmla="*/ 4083078 w 7088212"/>
              <a:gd name="connsiteY36" fmla="*/ 3434542 h 6858000"/>
              <a:gd name="connsiteX37" fmla="*/ 5257893 w 7088212"/>
              <a:gd name="connsiteY37" fmla="*/ 1 h 6858000"/>
              <a:gd name="connsiteX38" fmla="*/ 5696019 w 7088212"/>
              <a:gd name="connsiteY38" fmla="*/ 1 h 6858000"/>
              <a:gd name="connsiteX39" fmla="*/ 4031465 w 7088212"/>
              <a:gd name="connsiteY39" fmla="*/ 3434542 h 6858000"/>
              <a:gd name="connsiteX40" fmla="*/ 5700048 w 7088212"/>
              <a:gd name="connsiteY40" fmla="*/ 6858000 h 6858000"/>
              <a:gd name="connsiteX41" fmla="*/ 5261334 w 7088212"/>
              <a:gd name="connsiteY41" fmla="*/ 6858000 h 6858000"/>
              <a:gd name="connsiteX42" fmla="*/ 3592751 w 7088212"/>
              <a:gd name="connsiteY42" fmla="*/ 3434542 h 6858000"/>
              <a:gd name="connsiteX43" fmla="*/ 4787634 w 7088212"/>
              <a:gd name="connsiteY43" fmla="*/ 1 h 6858000"/>
              <a:gd name="connsiteX44" fmla="*/ 5178319 w 7088212"/>
              <a:gd name="connsiteY44" fmla="*/ 1 h 6858000"/>
              <a:gd name="connsiteX45" fmla="*/ 3513176 w 7088212"/>
              <a:gd name="connsiteY45" fmla="*/ 3434542 h 6858000"/>
              <a:gd name="connsiteX46" fmla="*/ 5182449 w 7088212"/>
              <a:gd name="connsiteY46" fmla="*/ 6858000 h 6858000"/>
              <a:gd name="connsiteX47" fmla="*/ 4791074 w 7088212"/>
              <a:gd name="connsiteY47" fmla="*/ 6858000 h 6858000"/>
              <a:gd name="connsiteX48" fmla="*/ 3122491 w 7088212"/>
              <a:gd name="connsiteY48" fmla="*/ 3434542 h 6858000"/>
              <a:gd name="connsiteX49" fmla="*/ 4309493 w 7088212"/>
              <a:gd name="connsiteY49" fmla="*/ 1 h 6858000"/>
              <a:gd name="connsiteX50" fmla="*/ 4668049 w 7088212"/>
              <a:gd name="connsiteY50" fmla="*/ 1 h 6858000"/>
              <a:gd name="connsiteX51" fmla="*/ 3003495 w 7088212"/>
              <a:gd name="connsiteY51" fmla="*/ 3434542 h 6858000"/>
              <a:gd name="connsiteX52" fmla="*/ 4672078 w 7088212"/>
              <a:gd name="connsiteY52" fmla="*/ 6858000 h 6858000"/>
              <a:gd name="connsiteX53" fmla="*/ 4312934 w 7088212"/>
              <a:gd name="connsiteY53" fmla="*/ 6858000 h 6858000"/>
              <a:gd name="connsiteX54" fmla="*/ 2644351 w 7088212"/>
              <a:gd name="connsiteY54" fmla="*/ 3434542 h 6858000"/>
              <a:gd name="connsiteX55" fmla="*/ 3827179 w 7088212"/>
              <a:gd name="connsiteY55" fmla="*/ 1 h 6858000"/>
              <a:gd name="connsiteX56" fmla="*/ 4161821 w 7088212"/>
              <a:gd name="connsiteY56" fmla="*/ 1 h 6858000"/>
              <a:gd name="connsiteX57" fmla="*/ 2496679 w 7088212"/>
              <a:gd name="connsiteY57" fmla="*/ 3434542 h 6858000"/>
              <a:gd name="connsiteX58" fmla="*/ 4165951 w 7088212"/>
              <a:gd name="connsiteY58" fmla="*/ 6858000 h 6858000"/>
              <a:gd name="connsiteX59" fmla="*/ 3831208 w 7088212"/>
              <a:gd name="connsiteY59" fmla="*/ 6858000 h 6858000"/>
              <a:gd name="connsiteX60" fmla="*/ 2162625 w 7088212"/>
              <a:gd name="connsiteY60" fmla="*/ 3434542 h 6858000"/>
              <a:gd name="connsiteX61" fmla="*/ 3396278 w 7088212"/>
              <a:gd name="connsiteY61" fmla="*/ 1 h 6858000"/>
              <a:gd name="connsiteX62" fmla="*/ 3658775 w 7088212"/>
              <a:gd name="connsiteY62" fmla="*/ 1 h 6858000"/>
              <a:gd name="connsiteX63" fmla="*/ 1994222 w 7088212"/>
              <a:gd name="connsiteY63" fmla="*/ 3434542 h 6858000"/>
              <a:gd name="connsiteX64" fmla="*/ 3662804 w 7088212"/>
              <a:gd name="connsiteY64" fmla="*/ 6858000 h 6858000"/>
              <a:gd name="connsiteX65" fmla="*/ 3399719 w 7088212"/>
              <a:gd name="connsiteY65" fmla="*/ 6858000 h 6858000"/>
              <a:gd name="connsiteX66" fmla="*/ 1731136 w 7088212"/>
              <a:gd name="connsiteY66" fmla="*/ 3434542 h 6858000"/>
              <a:gd name="connsiteX67" fmla="*/ 2965904 w 7088212"/>
              <a:gd name="connsiteY67" fmla="*/ 0 h 6858000"/>
              <a:gd name="connsiteX68" fmla="*/ 3196732 w 7088212"/>
              <a:gd name="connsiteY68" fmla="*/ 0 h 6858000"/>
              <a:gd name="connsiteX69" fmla="*/ 1531590 w 7088212"/>
              <a:gd name="connsiteY69" fmla="*/ 3434542 h 6858000"/>
              <a:gd name="connsiteX70" fmla="*/ 3200863 w 7088212"/>
              <a:gd name="connsiteY70" fmla="*/ 6858000 h 6858000"/>
              <a:gd name="connsiteX71" fmla="*/ 2969345 w 7088212"/>
              <a:gd name="connsiteY71" fmla="*/ 6858000 h 6858000"/>
              <a:gd name="connsiteX72" fmla="*/ 1300762 w 7088212"/>
              <a:gd name="connsiteY72" fmla="*/ 3434542 h 6858000"/>
              <a:gd name="connsiteX73" fmla="*/ 2506592 w 7088212"/>
              <a:gd name="connsiteY73" fmla="*/ 0 h 6858000"/>
              <a:gd name="connsiteX74" fmla="*/ 2690136 w 7088212"/>
              <a:gd name="connsiteY74" fmla="*/ 0 h 6858000"/>
              <a:gd name="connsiteX75" fmla="*/ 1025582 w 7088212"/>
              <a:gd name="connsiteY75" fmla="*/ 3434542 h 6858000"/>
              <a:gd name="connsiteX76" fmla="*/ 2694165 w 7088212"/>
              <a:gd name="connsiteY76" fmla="*/ 6858000 h 6858000"/>
              <a:gd name="connsiteX77" fmla="*/ 2510651 w 7088212"/>
              <a:gd name="connsiteY77" fmla="*/ 6858000 h 6858000"/>
              <a:gd name="connsiteX78" fmla="*/ 842068 w 7088212"/>
              <a:gd name="connsiteY78" fmla="*/ 3434542 h 6858000"/>
              <a:gd name="connsiteX79" fmla="*/ 859272 w 7088212"/>
              <a:gd name="connsiteY79" fmla="*/ 3398698 h 6858000"/>
              <a:gd name="connsiteX80" fmla="*/ 2066862 w 7088212"/>
              <a:gd name="connsiteY80" fmla="*/ 0 h 6858000"/>
              <a:gd name="connsiteX81" fmla="*/ 2178634 w 7088212"/>
              <a:gd name="connsiteY81" fmla="*/ 0 h 6858000"/>
              <a:gd name="connsiteX82" fmla="*/ 513490 w 7088212"/>
              <a:gd name="connsiteY82" fmla="*/ 3434542 h 6858000"/>
              <a:gd name="connsiteX83" fmla="*/ 2182763 w 7088212"/>
              <a:gd name="connsiteY83" fmla="*/ 6858000 h 6858000"/>
              <a:gd name="connsiteX84" fmla="*/ 2070961 w 7088212"/>
              <a:gd name="connsiteY84" fmla="*/ 6858000 h 6858000"/>
              <a:gd name="connsiteX85" fmla="*/ 402378 w 7088212"/>
              <a:gd name="connsiteY85" fmla="*/ 3434542 h 6858000"/>
              <a:gd name="connsiteX86" fmla="*/ 412414 w 7088212"/>
              <a:gd name="connsiteY86" fmla="*/ 3413036 h 6858000"/>
              <a:gd name="connsiteX87" fmla="*/ 1664655 w 7088212"/>
              <a:gd name="connsiteY87" fmla="*/ 0 h 6858000"/>
              <a:gd name="connsiteX88" fmla="*/ 1736238 w 7088212"/>
              <a:gd name="connsiteY88" fmla="*/ 0 h 6858000"/>
              <a:gd name="connsiteX89" fmla="*/ 71684 w 7088212"/>
              <a:gd name="connsiteY89" fmla="*/ 3434542 h 6858000"/>
              <a:gd name="connsiteX90" fmla="*/ 1740267 w 7088212"/>
              <a:gd name="connsiteY90" fmla="*/ 6858000 h 6858000"/>
              <a:gd name="connsiteX91" fmla="*/ 1668582 w 7088212"/>
              <a:gd name="connsiteY91" fmla="*/ 6858000 h 6858000"/>
              <a:gd name="connsiteX92" fmla="*/ 0 w 7088212"/>
              <a:gd name="connsiteY92" fmla="*/ 3434545 h 6858000"/>
              <a:gd name="connsiteX93" fmla="*/ 0 w 7088212"/>
              <a:gd name="connsiteY93" fmla="*/ 3434539 h 6858000"/>
              <a:gd name="connsiteX94" fmla="*/ 7167 w 7088212"/>
              <a:gd name="connsiteY94" fmla="*/ 34209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7088212" h="6858000">
                <a:moveTo>
                  <a:pt x="7088212" y="2316551"/>
                </a:moveTo>
                <a:lnTo>
                  <a:pt x="7088212" y="3270182"/>
                </a:lnTo>
                <a:lnTo>
                  <a:pt x="7088212" y="3597980"/>
                </a:lnTo>
                <a:lnTo>
                  <a:pt x="7088212" y="4546633"/>
                </a:lnTo>
                <a:lnTo>
                  <a:pt x="6546184" y="3434544"/>
                </a:lnTo>
                <a:close/>
                <a:moveTo>
                  <a:pt x="7088212" y="1297052"/>
                </a:moveTo>
                <a:lnTo>
                  <a:pt x="7088212" y="2251081"/>
                </a:lnTo>
                <a:lnTo>
                  <a:pt x="6514644" y="3434545"/>
                </a:lnTo>
                <a:lnTo>
                  <a:pt x="7088212" y="4611344"/>
                </a:lnTo>
                <a:lnTo>
                  <a:pt x="7088212" y="5559997"/>
                </a:lnTo>
                <a:lnTo>
                  <a:pt x="6052274" y="3434545"/>
                </a:lnTo>
                <a:close/>
                <a:moveTo>
                  <a:pt x="7088212" y="286451"/>
                </a:moveTo>
                <a:lnTo>
                  <a:pt x="7088212" y="1223092"/>
                </a:lnTo>
                <a:lnTo>
                  <a:pt x="6016431" y="3434543"/>
                </a:lnTo>
                <a:lnTo>
                  <a:pt x="7088212" y="5633535"/>
                </a:lnTo>
                <a:lnTo>
                  <a:pt x="7088212" y="6566009"/>
                </a:lnTo>
                <a:lnTo>
                  <a:pt x="5561946" y="3434543"/>
                </a:lnTo>
                <a:close/>
                <a:moveTo>
                  <a:pt x="6736761" y="1"/>
                </a:moveTo>
                <a:lnTo>
                  <a:pt x="7088212" y="1"/>
                </a:lnTo>
                <a:lnTo>
                  <a:pt x="7088212" y="195109"/>
                </a:lnTo>
                <a:lnTo>
                  <a:pt x="5518218" y="3434542"/>
                </a:lnTo>
                <a:lnTo>
                  <a:pt x="7088212" y="6655729"/>
                </a:lnTo>
                <a:lnTo>
                  <a:pt x="7088212" y="6858000"/>
                </a:lnTo>
                <a:lnTo>
                  <a:pt x="6740201" y="6858000"/>
                </a:lnTo>
                <a:lnTo>
                  <a:pt x="5071618" y="3434542"/>
                </a:lnTo>
                <a:close/>
                <a:moveTo>
                  <a:pt x="6238549" y="1"/>
                </a:moveTo>
                <a:lnTo>
                  <a:pt x="6692444" y="1"/>
                </a:lnTo>
                <a:lnTo>
                  <a:pt x="5027891" y="3434542"/>
                </a:lnTo>
                <a:lnTo>
                  <a:pt x="6696474" y="6858000"/>
                </a:lnTo>
                <a:lnTo>
                  <a:pt x="6241989" y="6858000"/>
                </a:lnTo>
                <a:lnTo>
                  <a:pt x="4573406" y="3434542"/>
                </a:lnTo>
                <a:close/>
                <a:moveTo>
                  <a:pt x="5748221" y="1"/>
                </a:moveTo>
                <a:lnTo>
                  <a:pt x="6194231" y="1"/>
                </a:lnTo>
                <a:lnTo>
                  <a:pt x="4529678" y="3434542"/>
                </a:lnTo>
                <a:lnTo>
                  <a:pt x="6198261" y="6858000"/>
                </a:lnTo>
                <a:lnTo>
                  <a:pt x="5751661" y="6858000"/>
                </a:lnTo>
                <a:lnTo>
                  <a:pt x="4083078" y="3434542"/>
                </a:lnTo>
                <a:close/>
                <a:moveTo>
                  <a:pt x="5257893" y="1"/>
                </a:moveTo>
                <a:lnTo>
                  <a:pt x="5696019" y="1"/>
                </a:lnTo>
                <a:lnTo>
                  <a:pt x="4031465" y="3434542"/>
                </a:lnTo>
                <a:lnTo>
                  <a:pt x="5700048" y="6858000"/>
                </a:lnTo>
                <a:lnTo>
                  <a:pt x="5261334" y="6858000"/>
                </a:lnTo>
                <a:lnTo>
                  <a:pt x="3592751" y="3434542"/>
                </a:lnTo>
                <a:close/>
                <a:moveTo>
                  <a:pt x="4787634" y="1"/>
                </a:moveTo>
                <a:lnTo>
                  <a:pt x="5178319" y="1"/>
                </a:lnTo>
                <a:lnTo>
                  <a:pt x="3513176" y="3434542"/>
                </a:lnTo>
                <a:lnTo>
                  <a:pt x="5182449" y="6858000"/>
                </a:lnTo>
                <a:lnTo>
                  <a:pt x="4791074" y="6858000"/>
                </a:lnTo>
                <a:lnTo>
                  <a:pt x="3122491" y="3434542"/>
                </a:lnTo>
                <a:close/>
                <a:moveTo>
                  <a:pt x="4309493" y="1"/>
                </a:moveTo>
                <a:lnTo>
                  <a:pt x="4668049" y="1"/>
                </a:lnTo>
                <a:lnTo>
                  <a:pt x="3003495" y="3434542"/>
                </a:lnTo>
                <a:lnTo>
                  <a:pt x="4672078" y="6858000"/>
                </a:lnTo>
                <a:lnTo>
                  <a:pt x="4312934" y="6858000"/>
                </a:lnTo>
                <a:lnTo>
                  <a:pt x="2644351" y="3434542"/>
                </a:lnTo>
                <a:close/>
                <a:moveTo>
                  <a:pt x="3827179" y="1"/>
                </a:moveTo>
                <a:lnTo>
                  <a:pt x="4161821" y="1"/>
                </a:lnTo>
                <a:lnTo>
                  <a:pt x="2496679" y="3434542"/>
                </a:lnTo>
                <a:lnTo>
                  <a:pt x="4165951" y="6858000"/>
                </a:lnTo>
                <a:lnTo>
                  <a:pt x="3831208" y="6858000"/>
                </a:lnTo>
                <a:lnTo>
                  <a:pt x="2162625" y="3434542"/>
                </a:lnTo>
                <a:close/>
                <a:moveTo>
                  <a:pt x="3396278" y="1"/>
                </a:moveTo>
                <a:lnTo>
                  <a:pt x="3658775" y="1"/>
                </a:lnTo>
                <a:lnTo>
                  <a:pt x="1994222" y="3434542"/>
                </a:lnTo>
                <a:lnTo>
                  <a:pt x="3662804" y="6858000"/>
                </a:lnTo>
                <a:lnTo>
                  <a:pt x="3399719" y="6858000"/>
                </a:lnTo>
                <a:lnTo>
                  <a:pt x="1731136" y="3434542"/>
                </a:lnTo>
                <a:close/>
                <a:moveTo>
                  <a:pt x="2965904" y="0"/>
                </a:moveTo>
                <a:lnTo>
                  <a:pt x="3196732" y="0"/>
                </a:lnTo>
                <a:lnTo>
                  <a:pt x="1531590" y="3434542"/>
                </a:lnTo>
                <a:lnTo>
                  <a:pt x="3200863" y="6858000"/>
                </a:lnTo>
                <a:lnTo>
                  <a:pt x="2969345" y="6858000"/>
                </a:lnTo>
                <a:lnTo>
                  <a:pt x="1300762" y="3434542"/>
                </a:lnTo>
                <a:close/>
                <a:moveTo>
                  <a:pt x="2506592" y="0"/>
                </a:moveTo>
                <a:lnTo>
                  <a:pt x="2690136" y="0"/>
                </a:lnTo>
                <a:lnTo>
                  <a:pt x="1025582" y="3434542"/>
                </a:lnTo>
                <a:lnTo>
                  <a:pt x="2694165" y="6858000"/>
                </a:lnTo>
                <a:lnTo>
                  <a:pt x="2510651" y="6858000"/>
                </a:lnTo>
                <a:lnTo>
                  <a:pt x="842068" y="3434542"/>
                </a:lnTo>
                <a:lnTo>
                  <a:pt x="859272" y="3398698"/>
                </a:lnTo>
                <a:close/>
                <a:moveTo>
                  <a:pt x="2066862" y="0"/>
                </a:moveTo>
                <a:lnTo>
                  <a:pt x="2178634" y="0"/>
                </a:lnTo>
                <a:lnTo>
                  <a:pt x="513490" y="3434542"/>
                </a:lnTo>
                <a:lnTo>
                  <a:pt x="2182763" y="6858000"/>
                </a:lnTo>
                <a:lnTo>
                  <a:pt x="2070961" y="6858000"/>
                </a:lnTo>
                <a:lnTo>
                  <a:pt x="402378" y="3434542"/>
                </a:lnTo>
                <a:lnTo>
                  <a:pt x="412414" y="3413036"/>
                </a:lnTo>
                <a:close/>
                <a:moveTo>
                  <a:pt x="1664655" y="0"/>
                </a:moveTo>
                <a:lnTo>
                  <a:pt x="1736238" y="0"/>
                </a:lnTo>
                <a:lnTo>
                  <a:pt x="71684" y="3434542"/>
                </a:lnTo>
                <a:lnTo>
                  <a:pt x="1740267" y="6858000"/>
                </a:lnTo>
                <a:lnTo>
                  <a:pt x="1668582" y="6858000"/>
                </a:lnTo>
                <a:lnTo>
                  <a:pt x="0" y="3434545"/>
                </a:lnTo>
                <a:lnTo>
                  <a:pt x="0" y="3434539"/>
                </a:lnTo>
                <a:lnTo>
                  <a:pt x="7167" y="3420921"/>
                </a:lnTo>
                <a:close/>
              </a:path>
            </a:pathLst>
          </a:custGeom>
          <a:solidFill>
            <a:schemeClr val="tx2"/>
          </a:solidFill>
          <a:effectLst/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>
                <a:solidFill>
                  <a:schemeClr val="bg1"/>
                </a:solidFill>
              </a:defRPr>
            </a:lvl1pPr>
          </a:lstStyle>
          <a:p>
            <a:pPr marL="146300" lvl="0" indent="-146300" algn="ctr"/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0325" y="338138"/>
            <a:ext cx="4734424" cy="2904934"/>
          </a:xfrm>
        </p:spPr>
        <p:txBody>
          <a:bodyPr tIns="0" bIns="0" anchor="b" anchorCtr="0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a section title</a:t>
            </a:r>
          </a:p>
        </p:txBody>
      </p:sp>
      <p:sp>
        <p:nvSpPr>
          <p:cNvPr id="107" name="Text Placeholder 5">
            <a:extLst>
              <a:ext uri="{FF2B5EF4-FFF2-40B4-BE49-F238E27FC236}">
                <a16:creationId xmlns:a16="http://schemas.microsoft.com/office/drawing/2014/main" id="{E0BDFDDF-1380-47A1-AEFB-E05AAAD4F8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0325" y="3364992"/>
            <a:ext cx="4196038" cy="1930908"/>
          </a:xfrm>
          <a:noFill/>
          <a:effectLst/>
        </p:spPr>
        <p:txBody>
          <a:bodyPr lIns="0" tIns="0" rIns="0" bIns="0">
            <a:normAutofit/>
          </a:bodyPr>
          <a:lstStyle>
            <a:lvl1pPr marL="0" indent="0">
              <a:spcBef>
                <a:spcPts val="400"/>
              </a:spcBef>
              <a:buFont typeface="Arial" panose="020B0604020202020204" pitchFamily="34" charset="0"/>
              <a:buNone/>
              <a:defRPr sz="2133" b="0">
                <a:solidFill>
                  <a:schemeClr val="bg1"/>
                </a:solidFill>
              </a:defRPr>
            </a:lvl1pPr>
            <a:lvl2pPr marL="170684" indent="0">
              <a:buNone/>
              <a:defRPr sz="2133" b="0"/>
            </a:lvl2pPr>
            <a:lvl3pPr marL="329176" indent="0">
              <a:buNone/>
              <a:defRPr sz="2133" b="0"/>
            </a:lvl3pPr>
            <a:lvl4pPr marL="621776" indent="0">
              <a:buFont typeface="Arial" panose="020B0604020202020204" pitchFamily="34" charset="0"/>
              <a:buNone/>
              <a:defRPr sz="2133" b="0"/>
            </a:lvl4pPr>
            <a:lvl5pPr marL="804652" indent="0">
              <a:buNone/>
              <a:defRPr sz="2133" b="0"/>
            </a:lvl5pPr>
          </a:lstStyle>
          <a:p>
            <a:pPr lvl="0"/>
            <a:r>
              <a:rPr lang="en-US" dirty="0"/>
              <a:t>Insert subtitle</a:t>
            </a:r>
            <a:br>
              <a:rPr lang="en-US" dirty="0"/>
            </a:br>
            <a:r>
              <a:rPr lang="en-US" dirty="0"/>
              <a:t>here.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6C15F6A-893F-4665-A9C2-107CDB79AB7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D13D4C-8B77-46DF-8744-C86BCC17BFAC}" type="datetime1">
              <a:rPr lang="en-US" smtClean="0"/>
              <a:t>2/17/2023</a:t>
            </a:fld>
            <a:endParaRPr lang="en-US" dirty="0"/>
          </a:p>
        </p:txBody>
      </p:sp>
      <p:grpSp>
        <p:nvGrpSpPr>
          <p:cNvPr id="99" name="Group 6">
            <a:extLst>
              <a:ext uri="{FF2B5EF4-FFF2-40B4-BE49-F238E27FC236}">
                <a16:creationId xmlns:a16="http://schemas.microsoft.com/office/drawing/2014/main" id="{345D9FE9-2D71-474F-848D-A9E926A81DA8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bg1"/>
          </a:solidFill>
        </p:grpSpPr>
        <p:sp>
          <p:nvSpPr>
            <p:cNvPr id="100" name="Freeform 5">
              <a:extLst>
                <a:ext uri="{FF2B5EF4-FFF2-40B4-BE49-F238E27FC236}">
                  <a16:creationId xmlns:a16="http://schemas.microsoft.com/office/drawing/2014/main" id="{AA0D15A5-787C-4252-AA4C-AA480F8F1F85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 6">
              <a:extLst>
                <a:ext uri="{FF2B5EF4-FFF2-40B4-BE49-F238E27FC236}">
                  <a16:creationId xmlns:a16="http://schemas.microsoft.com/office/drawing/2014/main" id="{409A9967-0E9B-4B11-90D5-A6B17FEC0D55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Freeform 7">
              <a:extLst>
                <a:ext uri="{FF2B5EF4-FFF2-40B4-BE49-F238E27FC236}">
                  <a16:creationId xmlns:a16="http://schemas.microsoft.com/office/drawing/2014/main" id="{4DBE115D-76B0-47EF-A06E-D036BD075875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reeform 8">
              <a:extLst>
                <a:ext uri="{FF2B5EF4-FFF2-40B4-BE49-F238E27FC236}">
                  <a16:creationId xmlns:a16="http://schemas.microsoft.com/office/drawing/2014/main" id="{086DE8E3-69CB-4427-A934-343A80F23DDB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Freeform 9">
              <a:extLst>
                <a:ext uri="{FF2B5EF4-FFF2-40B4-BE49-F238E27FC236}">
                  <a16:creationId xmlns:a16="http://schemas.microsoft.com/office/drawing/2014/main" id="{8ED340F2-B0DF-4611-A0B1-D810B3028DB7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20946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bg>
      <p:bgPr>
        <a:gradFill>
          <a:gsLst>
            <a:gs pos="0">
              <a:srgbClr val="430099"/>
            </a:gs>
            <a:gs pos="75000">
              <a:schemeClr val="tx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0325" y="338138"/>
            <a:ext cx="4734424" cy="2904934"/>
          </a:xfrm>
        </p:spPr>
        <p:txBody>
          <a:bodyPr tIns="0" bIns="0" anchor="b" anchorCtr="0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a section title</a:t>
            </a:r>
          </a:p>
        </p:txBody>
      </p:sp>
      <p:sp>
        <p:nvSpPr>
          <p:cNvPr id="106" name="Text Placeholder 4">
            <a:extLst>
              <a:ext uri="{FF2B5EF4-FFF2-40B4-BE49-F238E27FC236}">
                <a16:creationId xmlns:a16="http://schemas.microsoft.com/office/drawing/2014/main" id="{5E518B50-E87D-4971-A550-C100348BE8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8138" y="3227297"/>
            <a:ext cx="1242834" cy="1306603"/>
          </a:xfrm>
          <a:prstGeom prst="rect">
            <a:avLst/>
          </a:prstGeom>
          <a:noFill/>
          <a:effectLst/>
        </p:spPr>
        <p:txBody>
          <a:bodyPr vert="horz" wrap="none"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8800" b="1" spc="-226" baseline="0">
                <a:solidFill>
                  <a:srgbClr val="FFFFFF"/>
                </a:solidFill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07" name="Text Placeholder 5">
            <a:extLst>
              <a:ext uri="{FF2B5EF4-FFF2-40B4-BE49-F238E27FC236}">
                <a16:creationId xmlns:a16="http://schemas.microsoft.com/office/drawing/2014/main" id="{E0BDFDDF-1380-47A1-AEFB-E05AAAD4F8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26249" y="3364992"/>
            <a:ext cx="2820113" cy="1930908"/>
          </a:xfrm>
          <a:noFill/>
          <a:effectLst/>
        </p:spPr>
        <p:txBody>
          <a:bodyPr lIns="0" tIns="0" rIns="0" bIns="0">
            <a:normAutofit/>
          </a:bodyPr>
          <a:lstStyle>
            <a:lvl1pPr marL="0" indent="0">
              <a:spcBef>
                <a:spcPts val="400"/>
              </a:spcBef>
              <a:buFont typeface="Arial" panose="020B0604020202020204" pitchFamily="34" charset="0"/>
              <a:buNone/>
              <a:defRPr sz="2133" b="0">
                <a:solidFill>
                  <a:schemeClr val="bg1"/>
                </a:solidFill>
              </a:defRPr>
            </a:lvl1pPr>
            <a:lvl2pPr marL="170684" indent="0">
              <a:buNone/>
              <a:defRPr sz="2133" b="0"/>
            </a:lvl2pPr>
            <a:lvl3pPr marL="329176" indent="0">
              <a:buNone/>
              <a:defRPr sz="2133" b="0"/>
            </a:lvl3pPr>
            <a:lvl4pPr marL="621776" indent="0">
              <a:buFont typeface="Arial" panose="020B0604020202020204" pitchFamily="34" charset="0"/>
              <a:buNone/>
              <a:defRPr sz="2133" b="0"/>
            </a:lvl4pPr>
            <a:lvl5pPr marL="804652" indent="0">
              <a:buNone/>
              <a:defRPr sz="2133" b="0"/>
            </a:lvl5pPr>
          </a:lstStyle>
          <a:p>
            <a:pPr lvl="0"/>
            <a:r>
              <a:rPr lang="en-US" dirty="0"/>
              <a:t>Insert subtitle</a:t>
            </a:r>
            <a:br>
              <a:rPr lang="en-US" dirty="0"/>
            </a:br>
            <a:r>
              <a:rPr lang="en-US" dirty="0"/>
              <a:t>here.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6C15F6A-893F-4665-A9C2-107CDB79AB7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13199F-536F-4D42-89FB-930108B2B665}" type="datetime1">
              <a:rPr lang="en-US" smtClean="0"/>
              <a:t>2/17/2023</a:t>
            </a:fld>
            <a:endParaRPr lang="en-US" dirty="0"/>
          </a:p>
        </p:txBody>
      </p:sp>
      <p:grpSp>
        <p:nvGrpSpPr>
          <p:cNvPr id="99" name="Group 6">
            <a:extLst>
              <a:ext uri="{FF2B5EF4-FFF2-40B4-BE49-F238E27FC236}">
                <a16:creationId xmlns:a16="http://schemas.microsoft.com/office/drawing/2014/main" id="{345D9FE9-2D71-474F-848D-A9E926A81DA8}"/>
              </a:ext>
            </a:extLst>
          </p:cNvPr>
          <p:cNvGrpSpPr/>
          <p:nvPr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bg1"/>
          </a:solidFill>
        </p:grpSpPr>
        <p:sp>
          <p:nvSpPr>
            <p:cNvPr id="100" name="Freeform 5">
              <a:extLst>
                <a:ext uri="{FF2B5EF4-FFF2-40B4-BE49-F238E27FC236}">
                  <a16:creationId xmlns:a16="http://schemas.microsoft.com/office/drawing/2014/main" id="{AA0D15A5-787C-4252-AA4C-AA480F8F1F85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 6">
              <a:extLst>
                <a:ext uri="{FF2B5EF4-FFF2-40B4-BE49-F238E27FC236}">
                  <a16:creationId xmlns:a16="http://schemas.microsoft.com/office/drawing/2014/main" id="{409A9967-0E9B-4B11-90D5-A6B17FEC0D55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Freeform 7">
              <a:extLst>
                <a:ext uri="{FF2B5EF4-FFF2-40B4-BE49-F238E27FC236}">
                  <a16:creationId xmlns:a16="http://schemas.microsoft.com/office/drawing/2014/main" id="{4DBE115D-76B0-47EF-A06E-D036BD075875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reeform 8">
              <a:extLst>
                <a:ext uri="{FF2B5EF4-FFF2-40B4-BE49-F238E27FC236}">
                  <a16:creationId xmlns:a16="http://schemas.microsoft.com/office/drawing/2014/main" id="{086DE8E3-69CB-4427-A934-343A80F23DDB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Freeform 9">
              <a:extLst>
                <a:ext uri="{FF2B5EF4-FFF2-40B4-BE49-F238E27FC236}">
                  <a16:creationId xmlns:a16="http://schemas.microsoft.com/office/drawing/2014/main" id="{8ED340F2-B0DF-4611-A0B1-D810B3028DB7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7EA15F38-54B8-4CC1-A479-859DD3C8741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103788" y="0"/>
            <a:ext cx="7088212" cy="6858000"/>
          </a:xfrm>
          <a:custGeom>
            <a:avLst/>
            <a:gdLst>
              <a:gd name="connsiteX0" fmla="*/ 7088212 w 7088212"/>
              <a:gd name="connsiteY0" fmla="*/ 2316551 h 6858000"/>
              <a:gd name="connsiteX1" fmla="*/ 7088212 w 7088212"/>
              <a:gd name="connsiteY1" fmla="*/ 3270182 h 6858000"/>
              <a:gd name="connsiteX2" fmla="*/ 7088212 w 7088212"/>
              <a:gd name="connsiteY2" fmla="*/ 3597980 h 6858000"/>
              <a:gd name="connsiteX3" fmla="*/ 7088212 w 7088212"/>
              <a:gd name="connsiteY3" fmla="*/ 4546633 h 6858000"/>
              <a:gd name="connsiteX4" fmla="*/ 6546184 w 7088212"/>
              <a:gd name="connsiteY4" fmla="*/ 3434544 h 6858000"/>
              <a:gd name="connsiteX5" fmla="*/ 7088212 w 7088212"/>
              <a:gd name="connsiteY5" fmla="*/ 1297052 h 6858000"/>
              <a:gd name="connsiteX6" fmla="*/ 7088212 w 7088212"/>
              <a:gd name="connsiteY6" fmla="*/ 2251081 h 6858000"/>
              <a:gd name="connsiteX7" fmla="*/ 6514644 w 7088212"/>
              <a:gd name="connsiteY7" fmla="*/ 3434545 h 6858000"/>
              <a:gd name="connsiteX8" fmla="*/ 7088212 w 7088212"/>
              <a:gd name="connsiteY8" fmla="*/ 4611344 h 6858000"/>
              <a:gd name="connsiteX9" fmla="*/ 7088212 w 7088212"/>
              <a:gd name="connsiteY9" fmla="*/ 5559997 h 6858000"/>
              <a:gd name="connsiteX10" fmla="*/ 6052274 w 7088212"/>
              <a:gd name="connsiteY10" fmla="*/ 3434545 h 6858000"/>
              <a:gd name="connsiteX11" fmla="*/ 7088212 w 7088212"/>
              <a:gd name="connsiteY11" fmla="*/ 286451 h 6858000"/>
              <a:gd name="connsiteX12" fmla="*/ 7088212 w 7088212"/>
              <a:gd name="connsiteY12" fmla="*/ 1223092 h 6858000"/>
              <a:gd name="connsiteX13" fmla="*/ 6016431 w 7088212"/>
              <a:gd name="connsiteY13" fmla="*/ 3434543 h 6858000"/>
              <a:gd name="connsiteX14" fmla="*/ 7088212 w 7088212"/>
              <a:gd name="connsiteY14" fmla="*/ 5633535 h 6858000"/>
              <a:gd name="connsiteX15" fmla="*/ 7088212 w 7088212"/>
              <a:gd name="connsiteY15" fmla="*/ 6566009 h 6858000"/>
              <a:gd name="connsiteX16" fmla="*/ 5561946 w 7088212"/>
              <a:gd name="connsiteY16" fmla="*/ 3434543 h 6858000"/>
              <a:gd name="connsiteX17" fmla="*/ 6736761 w 7088212"/>
              <a:gd name="connsiteY17" fmla="*/ 1 h 6858000"/>
              <a:gd name="connsiteX18" fmla="*/ 7088212 w 7088212"/>
              <a:gd name="connsiteY18" fmla="*/ 1 h 6858000"/>
              <a:gd name="connsiteX19" fmla="*/ 7088212 w 7088212"/>
              <a:gd name="connsiteY19" fmla="*/ 195109 h 6858000"/>
              <a:gd name="connsiteX20" fmla="*/ 5518218 w 7088212"/>
              <a:gd name="connsiteY20" fmla="*/ 3434542 h 6858000"/>
              <a:gd name="connsiteX21" fmla="*/ 7088212 w 7088212"/>
              <a:gd name="connsiteY21" fmla="*/ 6655729 h 6858000"/>
              <a:gd name="connsiteX22" fmla="*/ 7088212 w 7088212"/>
              <a:gd name="connsiteY22" fmla="*/ 6858000 h 6858000"/>
              <a:gd name="connsiteX23" fmla="*/ 6740201 w 7088212"/>
              <a:gd name="connsiteY23" fmla="*/ 6858000 h 6858000"/>
              <a:gd name="connsiteX24" fmla="*/ 5071618 w 7088212"/>
              <a:gd name="connsiteY24" fmla="*/ 3434542 h 6858000"/>
              <a:gd name="connsiteX25" fmla="*/ 6238549 w 7088212"/>
              <a:gd name="connsiteY25" fmla="*/ 1 h 6858000"/>
              <a:gd name="connsiteX26" fmla="*/ 6692444 w 7088212"/>
              <a:gd name="connsiteY26" fmla="*/ 1 h 6858000"/>
              <a:gd name="connsiteX27" fmla="*/ 5027891 w 7088212"/>
              <a:gd name="connsiteY27" fmla="*/ 3434542 h 6858000"/>
              <a:gd name="connsiteX28" fmla="*/ 6696474 w 7088212"/>
              <a:gd name="connsiteY28" fmla="*/ 6858000 h 6858000"/>
              <a:gd name="connsiteX29" fmla="*/ 6241989 w 7088212"/>
              <a:gd name="connsiteY29" fmla="*/ 6858000 h 6858000"/>
              <a:gd name="connsiteX30" fmla="*/ 4573406 w 7088212"/>
              <a:gd name="connsiteY30" fmla="*/ 3434542 h 6858000"/>
              <a:gd name="connsiteX31" fmla="*/ 5748221 w 7088212"/>
              <a:gd name="connsiteY31" fmla="*/ 1 h 6858000"/>
              <a:gd name="connsiteX32" fmla="*/ 6194231 w 7088212"/>
              <a:gd name="connsiteY32" fmla="*/ 1 h 6858000"/>
              <a:gd name="connsiteX33" fmla="*/ 4529678 w 7088212"/>
              <a:gd name="connsiteY33" fmla="*/ 3434542 h 6858000"/>
              <a:gd name="connsiteX34" fmla="*/ 6198261 w 7088212"/>
              <a:gd name="connsiteY34" fmla="*/ 6858000 h 6858000"/>
              <a:gd name="connsiteX35" fmla="*/ 5751661 w 7088212"/>
              <a:gd name="connsiteY35" fmla="*/ 6858000 h 6858000"/>
              <a:gd name="connsiteX36" fmla="*/ 4083078 w 7088212"/>
              <a:gd name="connsiteY36" fmla="*/ 3434542 h 6858000"/>
              <a:gd name="connsiteX37" fmla="*/ 5257893 w 7088212"/>
              <a:gd name="connsiteY37" fmla="*/ 1 h 6858000"/>
              <a:gd name="connsiteX38" fmla="*/ 5696019 w 7088212"/>
              <a:gd name="connsiteY38" fmla="*/ 1 h 6858000"/>
              <a:gd name="connsiteX39" fmla="*/ 4031465 w 7088212"/>
              <a:gd name="connsiteY39" fmla="*/ 3434542 h 6858000"/>
              <a:gd name="connsiteX40" fmla="*/ 5700048 w 7088212"/>
              <a:gd name="connsiteY40" fmla="*/ 6858000 h 6858000"/>
              <a:gd name="connsiteX41" fmla="*/ 5261334 w 7088212"/>
              <a:gd name="connsiteY41" fmla="*/ 6858000 h 6858000"/>
              <a:gd name="connsiteX42" fmla="*/ 3592751 w 7088212"/>
              <a:gd name="connsiteY42" fmla="*/ 3434542 h 6858000"/>
              <a:gd name="connsiteX43" fmla="*/ 4787634 w 7088212"/>
              <a:gd name="connsiteY43" fmla="*/ 1 h 6858000"/>
              <a:gd name="connsiteX44" fmla="*/ 5178319 w 7088212"/>
              <a:gd name="connsiteY44" fmla="*/ 1 h 6858000"/>
              <a:gd name="connsiteX45" fmla="*/ 3513176 w 7088212"/>
              <a:gd name="connsiteY45" fmla="*/ 3434542 h 6858000"/>
              <a:gd name="connsiteX46" fmla="*/ 5182449 w 7088212"/>
              <a:gd name="connsiteY46" fmla="*/ 6858000 h 6858000"/>
              <a:gd name="connsiteX47" fmla="*/ 4791074 w 7088212"/>
              <a:gd name="connsiteY47" fmla="*/ 6858000 h 6858000"/>
              <a:gd name="connsiteX48" fmla="*/ 3122491 w 7088212"/>
              <a:gd name="connsiteY48" fmla="*/ 3434542 h 6858000"/>
              <a:gd name="connsiteX49" fmla="*/ 4309493 w 7088212"/>
              <a:gd name="connsiteY49" fmla="*/ 1 h 6858000"/>
              <a:gd name="connsiteX50" fmla="*/ 4668049 w 7088212"/>
              <a:gd name="connsiteY50" fmla="*/ 1 h 6858000"/>
              <a:gd name="connsiteX51" fmla="*/ 3003495 w 7088212"/>
              <a:gd name="connsiteY51" fmla="*/ 3434542 h 6858000"/>
              <a:gd name="connsiteX52" fmla="*/ 4672078 w 7088212"/>
              <a:gd name="connsiteY52" fmla="*/ 6858000 h 6858000"/>
              <a:gd name="connsiteX53" fmla="*/ 4312934 w 7088212"/>
              <a:gd name="connsiteY53" fmla="*/ 6858000 h 6858000"/>
              <a:gd name="connsiteX54" fmla="*/ 2644351 w 7088212"/>
              <a:gd name="connsiteY54" fmla="*/ 3434542 h 6858000"/>
              <a:gd name="connsiteX55" fmla="*/ 3827179 w 7088212"/>
              <a:gd name="connsiteY55" fmla="*/ 1 h 6858000"/>
              <a:gd name="connsiteX56" fmla="*/ 4161821 w 7088212"/>
              <a:gd name="connsiteY56" fmla="*/ 1 h 6858000"/>
              <a:gd name="connsiteX57" fmla="*/ 2496679 w 7088212"/>
              <a:gd name="connsiteY57" fmla="*/ 3434542 h 6858000"/>
              <a:gd name="connsiteX58" fmla="*/ 4165951 w 7088212"/>
              <a:gd name="connsiteY58" fmla="*/ 6858000 h 6858000"/>
              <a:gd name="connsiteX59" fmla="*/ 3831208 w 7088212"/>
              <a:gd name="connsiteY59" fmla="*/ 6858000 h 6858000"/>
              <a:gd name="connsiteX60" fmla="*/ 2162625 w 7088212"/>
              <a:gd name="connsiteY60" fmla="*/ 3434542 h 6858000"/>
              <a:gd name="connsiteX61" fmla="*/ 3396278 w 7088212"/>
              <a:gd name="connsiteY61" fmla="*/ 1 h 6858000"/>
              <a:gd name="connsiteX62" fmla="*/ 3658775 w 7088212"/>
              <a:gd name="connsiteY62" fmla="*/ 1 h 6858000"/>
              <a:gd name="connsiteX63" fmla="*/ 1994222 w 7088212"/>
              <a:gd name="connsiteY63" fmla="*/ 3434542 h 6858000"/>
              <a:gd name="connsiteX64" fmla="*/ 3662804 w 7088212"/>
              <a:gd name="connsiteY64" fmla="*/ 6858000 h 6858000"/>
              <a:gd name="connsiteX65" fmla="*/ 3399719 w 7088212"/>
              <a:gd name="connsiteY65" fmla="*/ 6858000 h 6858000"/>
              <a:gd name="connsiteX66" fmla="*/ 1731136 w 7088212"/>
              <a:gd name="connsiteY66" fmla="*/ 3434542 h 6858000"/>
              <a:gd name="connsiteX67" fmla="*/ 2965904 w 7088212"/>
              <a:gd name="connsiteY67" fmla="*/ 0 h 6858000"/>
              <a:gd name="connsiteX68" fmla="*/ 3196732 w 7088212"/>
              <a:gd name="connsiteY68" fmla="*/ 0 h 6858000"/>
              <a:gd name="connsiteX69" fmla="*/ 1531590 w 7088212"/>
              <a:gd name="connsiteY69" fmla="*/ 3434542 h 6858000"/>
              <a:gd name="connsiteX70" fmla="*/ 3200863 w 7088212"/>
              <a:gd name="connsiteY70" fmla="*/ 6858000 h 6858000"/>
              <a:gd name="connsiteX71" fmla="*/ 2969345 w 7088212"/>
              <a:gd name="connsiteY71" fmla="*/ 6858000 h 6858000"/>
              <a:gd name="connsiteX72" fmla="*/ 1300762 w 7088212"/>
              <a:gd name="connsiteY72" fmla="*/ 3434542 h 6858000"/>
              <a:gd name="connsiteX73" fmla="*/ 2506592 w 7088212"/>
              <a:gd name="connsiteY73" fmla="*/ 0 h 6858000"/>
              <a:gd name="connsiteX74" fmla="*/ 2690136 w 7088212"/>
              <a:gd name="connsiteY74" fmla="*/ 0 h 6858000"/>
              <a:gd name="connsiteX75" fmla="*/ 1025582 w 7088212"/>
              <a:gd name="connsiteY75" fmla="*/ 3434542 h 6858000"/>
              <a:gd name="connsiteX76" fmla="*/ 2694165 w 7088212"/>
              <a:gd name="connsiteY76" fmla="*/ 6858000 h 6858000"/>
              <a:gd name="connsiteX77" fmla="*/ 2510651 w 7088212"/>
              <a:gd name="connsiteY77" fmla="*/ 6858000 h 6858000"/>
              <a:gd name="connsiteX78" fmla="*/ 842068 w 7088212"/>
              <a:gd name="connsiteY78" fmla="*/ 3434542 h 6858000"/>
              <a:gd name="connsiteX79" fmla="*/ 859272 w 7088212"/>
              <a:gd name="connsiteY79" fmla="*/ 3398698 h 6858000"/>
              <a:gd name="connsiteX80" fmla="*/ 2066862 w 7088212"/>
              <a:gd name="connsiteY80" fmla="*/ 0 h 6858000"/>
              <a:gd name="connsiteX81" fmla="*/ 2178634 w 7088212"/>
              <a:gd name="connsiteY81" fmla="*/ 0 h 6858000"/>
              <a:gd name="connsiteX82" fmla="*/ 513490 w 7088212"/>
              <a:gd name="connsiteY82" fmla="*/ 3434542 h 6858000"/>
              <a:gd name="connsiteX83" fmla="*/ 2182763 w 7088212"/>
              <a:gd name="connsiteY83" fmla="*/ 6858000 h 6858000"/>
              <a:gd name="connsiteX84" fmla="*/ 2070961 w 7088212"/>
              <a:gd name="connsiteY84" fmla="*/ 6858000 h 6858000"/>
              <a:gd name="connsiteX85" fmla="*/ 402378 w 7088212"/>
              <a:gd name="connsiteY85" fmla="*/ 3434542 h 6858000"/>
              <a:gd name="connsiteX86" fmla="*/ 412414 w 7088212"/>
              <a:gd name="connsiteY86" fmla="*/ 3413036 h 6858000"/>
              <a:gd name="connsiteX87" fmla="*/ 1664655 w 7088212"/>
              <a:gd name="connsiteY87" fmla="*/ 0 h 6858000"/>
              <a:gd name="connsiteX88" fmla="*/ 1736238 w 7088212"/>
              <a:gd name="connsiteY88" fmla="*/ 0 h 6858000"/>
              <a:gd name="connsiteX89" fmla="*/ 71684 w 7088212"/>
              <a:gd name="connsiteY89" fmla="*/ 3434542 h 6858000"/>
              <a:gd name="connsiteX90" fmla="*/ 1740267 w 7088212"/>
              <a:gd name="connsiteY90" fmla="*/ 6858000 h 6858000"/>
              <a:gd name="connsiteX91" fmla="*/ 1668582 w 7088212"/>
              <a:gd name="connsiteY91" fmla="*/ 6858000 h 6858000"/>
              <a:gd name="connsiteX92" fmla="*/ 0 w 7088212"/>
              <a:gd name="connsiteY92" fmla="*/ 3434545 h 6858000"/>
              <a:gd name="connsiteX93" fmla="*/ 0 w 7088212"/>
              <a:gd name="connsiteY93" fmla="*/ 3434539 h 6858000"/>
              <a:gd name="connsiteX94" fmla="*/ 7167 w 7088212"/>
              <a:gd name="connsiteY94" fmla="*/ 34209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7088212" h="6858000">
                <a:moveTo>
                  <a:pt x="7088212" y="2316551"/>
                </a:moveTo>
                <a:lnTo>
                  <a:pt x="7088212" y="3270182"/>
                </a:lnTo>
                <a:lnTo>
                  <a:pt x="7088212" y="3597980"/>
                </a:lnTo>
                <a:lnTo>
                  <a:pt x="7088212" y="4546633"/>
                </a:lnTo>
                <a:lnTo>
                  <a:pt x="6546184" y="3434544"/>
                </a:lnTo>
                <a:close/>
                <a:moveTo>
                  <a:pt x="7088212" y="1297052"/>
                </a:moveTo>
                <a:lnTo>
                  <a:pt x="7088212" y="2251081"/>
                </a:lnTo>
                <a:lnTo>
                  <a:pt x="6514644" y="3434545"/>
                </a:lnTo>
                <a:lnTo>
                  <a:pt x="7088212" y="4611344"/>
                </a:lnTo>
                <a:lnTo>
                  <a:pt x="7088212" y="5559997"/>
                </a:lnTo>
                <a:lnTo>
                  <a:pt x="6052274" y="3434545"/>
                </a:lnTo>
                <a:close/>
                <a:moveTo>
                  <a:pt x="7088212" y="286451"/>
                </a:moveTo>
                <a:lnTo>
                  <a:pt x="7088212" y="1223092"/>
                </a:lnTo>
                <a:lnTo>
                  <a:pt x="6016431" y="3434543"/>
                </a:lnTo>
                <a:lnTo>
                  <a:pt x="7088212" y="5633535"/>
                </a:lnTo>
                <a:lnTo>
                  <a:pt x="7088212" y="6566009"/>
                </a:lnTo>
                <a:lnTo>
                  <a:pt x="5561946" y="3434543"/>
                </a:lnTo>
                <a:close/>
                <a:moveTo>
                  <a:pt x="6736761" y="1"/>
                </a:moveTo>
                <a:lnTo>
                  <a:pt x="7088212" y="1"/>
                </a:lnTo>
                <a:lnTo>
                  <a:pt x="7088212" y="195109"/>
                </a:lnTo>
                <a:lnTo>
                  <a:pt x="5518218" y="3434542"/>
                </a:lnTo>
                <a:lnTo>
                  <a:pt x="7088212" y="6655729"/>
                </a:lnTo>
                <a:lnTo>
                  <a:pt x="7088212" y="6858000"/>
                </a:lnTo>
                <a:lnTo>
                  <a:pt x="6740201" y="6858000"/>
                </a:lnTo>
                <a:lnTo>
                  <a:pt x="5071618" y="3434542"/>
                </a:lnTo>
                <a:close/>
                <a:moveTo>
                  <a:pt x="6238549" y="1"/>
                </a:moveTo>
                <a:lnTo>
                  <a:pt x="6692444" y="1"/>
                </a:lnTo>
                <a:lnTo>
                  <a:pt x="5027891" y="3434542"/>
                </a:lnTo>
                <a:lnTo>
                  <a:pt x="6696474" y="6858000"/>
                </a:lnTo>
                <a:lnTo>
                  <a:pt x="6241989" y="6858000"/>
                </a:lnTo>
                <a:lnTo>
                  <a:pt x="4573406" y="3434542"/>
                </a:lnTo>
                <a:close/>
                <a:moveTo>
                  <a:pt x="5748221" y="1"/>
                </a:moveTo>
                <a:lnTo>
                  <a:pt x="6194231" y="1"/>
                </a:lnTo>
                <a:lnTo>
                  <a:pt x="4529678" y="3434542"/>
                </a:lnTo>
                <a:lnTo>
                  <a:pt x="6198261" y="6858000"/>
                </a:lnTo>
                <a:lnTo>
                  <a:pt x="5751661" y="6858000"/>
                </a:lnTo>
                <a:lnTo>
                  <a:pt x="4083078" y="3434542"/>
                </a:lnTo>
                <a:close/>
                <a:moveTo>
                  <a:pt x="5257893" y="1"/>
                </a:moveTo>
                <a:lnTo>
                  <a:pt x="5696019" y="1"/>
                </a:lnTo>
                <a:lnTo>
                  <a:pt x="4031465" y="3434542"/>
                </a:lnTo>
                <a:lnTo>
                  <a:pt x="5700048" y="6858000"/>
                </a:lnTo>
                <a:lnTo>
                  <a:pt x="5261334" y="6858000"/>
                </a:lnTo>
                <a:lnTo>
                  <a:pt x="3592751" y="3434542"/>
                </a:lnTo>
                <a:close/>
                <a:moveTo>
                  <a:pt x="4787634" y="1"/>
                </a:moveTo>
                <a:lnTo>
                  <a:pt x="5178319" y="1"/>
                </a:lnTo>
                <a:lnTo>
                  <a:pt x="3513176" y="3434542"/>
                </a:lnTo>
                <a:lnTo>
                  <a:pt x="5182449" y="6858000"/>
                </a:lnTo>
                <a:lnTo>
                  <a:pt x="4791074" y="6858000"/>
                </a:lnTo>
                <a:lnTo>
                  <a:pt x="3122491" y="3434542"/>
                </a:lnTo>
                <a:close/>
                <a:moveTo>
                  <a:pt x="4309493" y="1"/>
                </a:moveTo>
                <a:lnTo>
                  <a:pt x="4668049" y="1"/>
                </a:lnTo>
                <a:lnTo>
                  <a:pt x="3003495" y="3434542"/>
                </a:lnTo>
                <a:lnTo>
                  <a:pt x="4672078" y="6858000"/>
                </a:lnTo>
                <a:lnTo>
                  <a:pt x="4312934" y="6858000"/>
                </a:lnTo>
                <a:lnTo>
                  <a:pt x="2644351" y="3434542"/>
                </a:lnTo>
                <a:close/>
                <a:moveTo>
                  <a:pt x="3827179" y="1"/>
                </a:moveTo>
                <a:lnTo>
                  <a:pt x="4161821" y="1"/>
                </a:lnTo>
                <a:lnTo>
                  <a:pt x="2496679" y="3434542"/>
                </a:lnTo>
                <a:lnTo>
                  <a:pt x="4165951" y="6858000"/>
                </a:lnTo>
                <a:lnTo>
                  <a:pt x="3831208" y="6858000"/>
                </a:lnTo>
                <a:lnTo>
                  <a:pt x="2162625" y="3434542"/>
                </a:lnTo>
                <a:close/>
                <a:moveTo>
                  <a:pt x="3396278" y="1"/>
                </a:moveTo>
                <a:lnTo>
                  <a:pt x="3658775" y="1"/>
                </a:lnTo>
                <a:lnTo>
                  <a:pt x="1994222" y="3434542"/>
                </a:lnTo>
                <a:lnTo>
                  <a:pt x="3662804" y="6858000"/>
                </a:lnTo>
                <a:lnTo>
                  <a:pt x="3399719" y="6858000"/>
                </a:lnTo>
                <a:lnTo>
                  <a:pt x="1731136" y="3434542"/>
                </a:lnTo>
                <a:close/>
                <a:moveTo>
                  <a:pt x="2965904" y="0"/>
                </a:moveTo>
                <a:lnTo>
                  <a:pt x="3196732" y="0"/>
                </a:lnTo>
                <a:lnTo>
                  <a:pt x="1531590" y="3434542"/>
                </a:lnTo>
                <a:lnTo>
                  <a:pt x="3200863" y="6858000"/>
                </a:lnTo>
                <a:lnTo>
                  <a:pt x="2969345" y="6858000"/>
                </a:lnTo>
                <a:lnTo>
                  <a:pt x="1300762" y="3434542"/>
                </a:lnTo>
                <a:close/>
                <a:moveTo>
                  <a:pt x="2506592" y="0"/>
                </a:moveTo>
                <a:lnTo>
                  <a:pt x="2690136" y="0"/>
                </a:lnTo>
                <a:lnTo>
                  <a:pt x="1025582" y="3434542"/>
                </a:lnTo>
                <a:lnTo>
                  <a:pt x="2694165" y="6858000"/>
                </a:lnTo>
                <a:lnTo>
                  <a:pt x="2510651" y="6858000"/>
                </a:lnTo>
                <a:lnTo>
                  <a:pt x="842068" y="3434542"/>
                </a:lnTo>
                <a:lnTo>
                  <a:pt x="859272" y="3398698"/>
                </a:lnTo>
                <a:close/>
                <a:moveTo>
                  <a:pt x="2066862" y="0"/>
                </a:moveTo>
                <a:lnTo>
                  <a:pt x="2178634" y="0"/>
                </a:lnTo>
                <a:lnTo>
                  <a:pt x="513490" y="3434542"/>
                </a:lnTo>
                <a:lnTo>
                  <a:pt x="2182763" y="6858000"/>
                </a:lnTo>
                <a:lnTo>
                  <a:pt x="2070961" y="6858000"/>
                </a:lnTo>
                <a:lnTo>
                  <a:pt x="402378" y="3434542"/>
                </a:lnTo>
                <a:lnTo>
                  <a:pt x="412414" y="3413036"/>
                </a:lnTo>
                <a:close/>
                <a:moveTo>
                  <a:pt x="1664655" y="0"/>
                </a:moveTo>
                <a:lnTo>
                  <a:pt x="1736238" y="0"/>
                </a:lnTo>
                <a:lnTo>
                  <a:pt x="71684" y="3434542"/>
                </a:lnTo>
                <a:lnTo>
                  <a:pt x="1740267" y="6858000"/>
                </a:lnTo>
                <a:lnTo>
                  <a:pt x="1668582" y="6858000"/>
                </a:lnTo>
                <a:lnTo>
                  <a:pt x="0" y="3434545"/>
                </a:lnTo>
                <a:lnTo>
                  <a:pt x="0" y="3434539"/>
                </a:lnTo>
                <a:lnTo>
                  <a:pt x="7167" y="3420921"/>
                </a:lnTo>
                <a:close/>
              </a:path>
            </a:pathLst>
          </a:custGeom>
          <a:solidFill>
            <a:schemeClr val="tx2"/>
          </a:solidFill>
          <a:effectLst/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>
                <a:solidFill>
                  <a:schemeClr val="bg1"/>
                </a:solidFill>
              </a:defRPr>
            </a:lvl1pPr>
          </a:lstStyle>
          <a:p>
            <a:pPr marL="146300" lvl="0" indent="-146300" algn="ctr"/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23491154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E59EF632-3D4F-4945-900D-D4D867CF7E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03788" y="0"/>
            <a:ext cx="7088212" cy="6858000"/>
          </a:xfrm>
          <a:custGeom>
            <a:avLst/>
            <a:gdLst>
              <a:gd name="connsiteX0" fmla="*/ 7088212 w 7088212"/>
              <a:gd name="connsiteY0" fmla="*/ 2316551 h 6858000"/>
              <a:gd name="connsiteX1" fmla="*/ 7088212 w 7088212"/>
              <a:gd name="connsiteY1" fmla="*/ 3270182 h 6858000"/>
              <a:gd name="connsiteX2" fmla="*/ 7088212 w 7088212"/>
              <a:gd name="connsiteY2" fmla="*/ 3597980 h 6858000"/>
              <a:gd name="connsiteX3" fmla="*/ 7088212 w 7088212"/>
              <a:gd name="connsiteY3" fmla="*/ 4546633 h 6858000"/>
              <a:gd name="connsiteX4" fmla="*/ 6546184 w 7088212"/>
              <a:gd name="connsiteY4" fmla="*/ 3434544 h 6858000"/>
              <a:gd name="connsiteX5" fmla="*/ 7088212 w 7088212"/>
              <a:gd name="connsiteY5" fmla="*/ 1297052 h 6858000"/>
              <a:gd name="connsiteX6" fmla="*/ 7088212 w 7088212"/>
              <a:gd name="connsiteY6" fmla="*/ 2251081 h 6858000"/>
              <a:gd name="connsiteX7" fmla="*/ 6514644 w 7088212"/>
              <a:gd name="connsiteY7" fmla="*/ 3434545 h 6858000"/>
              <a:gd name="connsiteX8" fmla="*/ 7088212 w 7088212"/>
              <a:gd name="connsiteY8" fmla="*/ 4611344 h 6858000"/>
              <a:gd name="connsiteX9" fmla="*/ 7088212 w 7088212"/>
              <a:gd name="connsiteY9" fmla="*/ 5559997 h 6858000"/>
              <a:gd name="connsiteX10" fmla="*/ 6052274 w 7088212"/>
              <a:gd name="connsiteY10" fmla="*/ 3434545 h 6858000"/>
              <a:gd name="connsiteX11" fmla="*/ 7088212 w 7088212"/>
              <a:gd name="connsiteY11" fmla="*/ 286451 h 6858000"/>
              <a:gd name="connsiteX12" fmla="*/ 7088212 w 7088212"/>
              <a:gd name="connsiteY12" fmla="*/ 1223092 h 6858000"/>
              <a:gd name="connsiteX13" fmla="*/ 6016431 w 7088212"/>
              <a:gd name="connsiteY13" fmla="*/ 3434543 h 6858000"/>
              <a:gd name="connsiteX14" fmla="*/ 7088212 w 7088212"/>
              <a:gd name="connsiteY14" fmla="*/ 5633535 h 6858000"/>
              <a:gd name="connsiteX15" fmla="*/ 7088212 w 7088212"/>
              <a:gd name="connsiteY15" fmla="*/ 6566009 h 6858000"/>
              <a:gd name="connsiteX16" fmla="*/ 5561946 w 7088212"/>
              <a:gd name="connsiteY16" fmla="*/ 3434543 h 6858000"/>
              <a:gd name="connsiteX17" fmla="*/ 6736761 w 7088212"/>
              <a:gd name="connsiteY17" fmla="*/ 1 h 6858000"/>
              <a:gd name="connsiteX18" fmla="*/ 7088212 w 7088212"/>
              <a:gd name="connsiteY18" fmla="*/ 1 h 6858000"/>
              <a:gd name="connsiteX19" fmla="*/ 7088212 w 7088212"/>
              <a:gd name="connsiteY19" fmla="*/ 195109 h 6858000"/>
              <a:gd name="connsiteX20" fmla="*/ 5518218 w 7088212"/>
              <a:gd name="connsiteY20" fmla="*/ 3434542 h 6858000"/>
              <a:gd name="connsiteX21" fmla="*/ 7088212 w 7088212"/>
              <a:gd name="connsiteY21" fmla="*/ 6655729 h 6858000"/>
              <a:gd name="connsiteX22" fmla="*/ 7088212 w 7088212"/>
              <a:gd name="connsiteY22" fmla="*/ 6858000 h 6858000"/>
              <a:gd name="connsiteX23" fmla="*/ 6740201 w 7088212"/>
              <a:gd name="connsiteY23" fmla="*/ 6858000 h 6858000"/>
              <a:gd name="connsiteX24" fmla="*/ 5071618 w 7088212"/>
              <a:gd name="connsiteY24" fmla="*/ 3434542 h 6858000"/>
              <a:gd name="connsiteX25" fmla="*/ 6238549 w 7088212"/>
              <a:gd name="connsiteY25" fmla="*/ 1 h 6858000"/>
              <a:gd name="connsiteX26" fmla="*/ 6692444 w 7088212"/>
              <a:gd name="connsiteY26" fmla="*/ 1 h 6858000"/>
              <a:gd name="connsiteX27" fmla="*/ 5027891 w 7088212"/>
              <a:gd name="connsiteY27" fmla="*/ 3434542 h 6858000"/>
              <a:gd name="connsiteX28" fmla="*/ 6696474 w 7088212"/>
              <a:gd name="connsiteY28" fmla="*/ 6858000 h 6858000"/>
              <a:gd name="connsiteX29" fmla="*/ 6241989 w 7088212"/>
              <a:gd name="connsiteY29" fmla="*/ 6858000 h 6858000"/>
              <a:gd name="connsiteX30" fmla="*/ 4573406 w 7088212"/>
              <a:gd name="connsiteY30" fmla="*/ 3434542 h 6858000"/>
              <a:gd name="connsiteX31" fmla="*/ 5748221 w 7088212"/>
              <a:gd name="connsiteY31" fmla="*/ 1 h 6858000"/>
              <a:gd name="connsiteX32" fmla="*/ 6194231 w 7088212"/>
              <a:gd name="connsiteY32" fmla="*/ 1 h 6858000"/>
              <a:gd name="connsiteX33" fmla="*/ 4529678 w 7088212"/>
              <a:gd name="connsiteY33" fmla="*/ 3434542 h 6858000"/>
              <a:gd name="connsiteX34" fmla="*/ 6198261 w 7088212"/>
              <a:gd name="connsiteY34" fmla="*/ 6858000 h 6858000"/>
              <a:gd name="connsiteX35" fmla="*/ 5751661 w 7088212"/>
              <a:gd name="connsiteY35" fmla="*/ 6858000 h 6858000"/>
              <a:gd name="connsiteX36" fmla="*/ 4083078 w 7088212"/>
              <a:gd name="connsiteY36" fmla="*/ 3434542 h 6858000"/>
              <a:gd name="connsiteX37" fmla="*/ 5257893 w 7088212"/>
              <a:gd name="connsiteY37" fmla="*/ 1 h 6858000"/>
              <a:gd name="connsiteX38" fmla="*/ 5696019 w 7088212"/>
              <a:gd name="connsiteY38" fmla="*/ 1 h 6858000"/>
              <a:gd name="connsiteX39" fmla="*/ 4031465 w 7088212"/>
              <a:gd name="connsiteY39" fmla="*/ 3434542 h 6858000"/>
              <a:gd name="connsiteX40" fmla="*/ 5700048 w 7088212"/>
              <a:gd name="connsiteY40" fmla="*/ 6858000 h 6858000"/>
              <a:gd name="connsiteX41" fmla="*/ 5261334 w 7088212"/>
              <a:gd name="connsiteY41" fmla="*/ 6858000 h 6858000"/>
              <a:gd name="connsiteX42" fmla="*/ 3592751 w 7088212"/>
              <a:gd name="connsiteY42" fmla="*/ 3434542 h 6858000"/>
              <a:gd name="connsiteX43" fmla="*/ 4787634 w 7088212"/>
              <a:gd name="connsiteY43" fmla="*/ 1 h 6858000"/>
              <a:gd name="connsiteX44" fmla="*/ 5178319 w 7088212"/>
              <a:gd name="connsiteY44" fmla="*/ 1 h 6858000"/>
              <a:gd name="connsiteX45" fmla="*/ 3513176 w 7088212"/>
              <a:gd name="connsiteY45" fmla="*/ 3434542 h 6858000"/>
              <a:gd name="connsiteX46" fmla="*/ 5182449 w 7088212"/>
              <a:gd name="connsiteY46" fmla="*/ 6858000 h 6858000"/>
              <a:gd name="connsiteX47" fmla="*/ 4791074 w 7088212"/>
              <a:gd name="connsiteY47" fmla="*/ 6858000 h 6858000"/>
              <a:gd name="connsiteX48" fmla="*/ 3122491 w 7088212"/>
              <a:gd name="connsiteY48" fmla="*/ 3434542 h 6858000"/>
              <a:gd name="connsiteX49" fmla="*/ 4309493 w 7088212"/>
              <a:gd name="connsiteY49" fmla="*/ 1 h 6858000"/>
              <a:gd name="connsiteX50" fmla="*/ 4668049 w 7088212"/>
              <a:gd name="connsiteY50" fmla="*/ 1 h 6858000"/>
              <a:gd name="connsiteX51" fmla="*/ 3003495 w 7088212"/>
              <a:gd name="connsiteY51" fmla="*/ 3434542 h 6858000"/>
              <a:gd name="connsiteX52" fmla="*/ 4672078 w 7088212"/>
              <a:gd name="connsiteY52" fmla="*/ 6858000 h 6858000"/>
              <a:gd name="connsiteX53" fmla="*/ 4312934 w 7088212"/>
              <a:gd name="connsiteY53" fmla="*/ 6858000 h 6858000"/>
              <a:gd name="connsiteX54" fmla="*/ 2644351 w 7088212"/>
              <a:gd name="connsiteY54" fmla="*/ 3434542 h 6858000"/>
              <a:gd name="connsiteX55" fmla="*/ 3827179 w 7088212"/>
              <a:gd name="connsiteY55" fmla="*/ 1 h 6858000"/>
              <a:gd name="connsiteX56" fmla="*/ 4161821 w 7088212"/>
              <a:gd name="connsiteY56" fmla="*/ 1 h 6858000"/>
              <a:gd name="connsiteX57" fmla="*/ 2496679 w 7088212"/>
              <a:gd name="connsiteY57" fmla="*/ 3434542 h 6858000"/>
              <a:gd name="connsiteX58" fmla="*/ 4165951 w 7088212"/>
              <a:gd name="connsiteY58" fmla="*/ 6858000 h 6858000"/>
              <a:gd name="connsiteX59" fmla="*/ 3831208 w 7088212"/>
              <a:gd name="connsiteY59" fmla="*/ 6858000 h 6858000"/>
              <a:gd name="connsiteX60" fmla="*/ 2162625 w 7088212"/>
              <a:gd name="connsiteY60" fmla="*/ 3434542 h 6858000"/>
              <a:gd name="connsiteX61" fmla="*/ 3396278 w 7088212"/>
              <a:gd name="connsiteY61" fmla="*/ 1 h 6858000"/>
              <a:gd name="connsiteX62" fmla="*/ 3658775 w 7088212"/>
              <a:gd name="connsiteY62" fmla="*/ 1 h 6858000"/>
              <a:gd name="connsiteX63" fmla="*/ 1994222 w 7088212"/>
              <a:gd name="connsiteY63" fmla="*/ 3434542 h 6858000"/>
              <a:gd name="connsiteX64" fmla="*/ 3662804 w 7088212"/>
              <a:gd name="connsiteY64" fmla="*/ 6858000 h 6858000"/>
              <a:gd name="connsiteX65" fmla="*/ 3399719 w 7088212"/>
              <a:gd name="connsiteY65" fmla="*/ 6858000 h 6858000"/>
              <a:gd name="connsiteX66" fmla="*/ 1731136 w 7088212"/>
              <a:gd name="connsiteY66" fmla="*/ 3434542 h 6858000"/>
              <a:gd name="connsiteX67" fmla="*/ 2965904 w 7088212"/>
              <a:gd name="connsiteY67" fmla="*/ 0 h 6858000"/>
              <a:gd name="connsiteX68" fmla="*/ 3196732 w 7088212"/>
              <a:gd name="connsiteY68" fmla="*/ 0 h 6858000"/>
              <a:gd name="connsiteX69" fmla="*/ 1531590 w 7088212"/>
              <a:gd name="connsiteY69" fmla="*/ 3434542 h 6858000"/>
              <a:gd name="connsiteX70" fmla="*/ 3200863 w 7088212"/>
              <a:gd name="connsiteY70" fmla="*/ 6858000 h 6858000"/>
              <a:gd name="connsiteX71" fmla="*/ 2969345 w 7088212"/>
              <a:gd name="connsiteY71" fmla="*/ 6858000 h 6858000"/>
              <a:gd name="connsiteX72" fmla="*/ 1300762 w 7088212"/>
              <a:gd name="connsiteY72" fmla="*/ 3434542 h 6858000"/>
              <a:gd name="connsiteX73" fmla="*/ 2506592 w 7088212"/>
              <a:gd name="connsiteY73" fmla="*/ 0 h 6858000"/>
              <a:gd name="connsiteX74" fmla="*/ 2690136 w 7088212"/>
              <a:gd name="connsiteY74" fmla="*/ 0 h 6858000"/>
              <a:gd name="connsiteX75" fmla="*/ 1025582 w 7088212"/>
              <a:gd name="connsiteY75" fmla="*/ 3434542 h 6858000"/>
              <a:gd name="connsiteX76" fmla="*/ 2694165 w 7088212"/>
              <a:gd name="connsiteY76" fmla="*/ 6858000 h 6858000"/>
              <a:gd name="connsiteX77" fmla="*/ 2510651 w 7088212"/>
              <a:gd name="connsiteY77" fmla="*/ 6858000 h 6858000"/>
              <a:gd name="connsiteX78" fmla="*/ 842068 w 7088212"/>
              <a:gd name="connsiteY78" fmla="*/ 3434542 h 6858000"/>
              <a:gd name="connsiteX79" fmla="*/ 859272 w 7088212"/>
              <a:gd name="connsiteY79" fmla="*/ 3398698 h 6858000"/>
              <a:gd name="connsiteX80" fmla="*/ 2066862 w 7088212"/>
              <a:gd name="connsiteY80" fmla="*/ 0 h 6858000"/>
              <a:gd name="connsiteX81" fmla="*/ 2178634 w 7088212"/>
              <a:gd name="connsiteY81" fmla="*/ 0 h 6858000"/>
              <a:gd name="connsiteX82" fmla="*/ 513490 w 7088212"/>
              <a:gd name="connsiteY82" fmla="*/ 3434542 h 6858000"/>
              <a:gd name="connsiteX83" fmla="*/ 2182763 w 7088212"/>
              <a:gd name="connsiteY83" fmla="*/ 6858000 h 6858000"/>
              <a:gd name="connsiteX84" fmla="*/ 2070961 w 7088212"/>
              <a:gd name="connsiteY84" fmla="*/ 6858000 h 6858000"/>
              <a:gd name="connsiteX85" fmla="*/ 402378 w 7088212"/>
              <a:gd name="connsiteY85" fmla="*/ 3434542 h 6858000"/>
              <a:gd name="connsiteX86" fmla="*/ 412414 w 7088212"/>
              <a:gd name="connsiteY86" fmla="*/ 3413036 h 6858000"/>
              <a:gd name="connsiteX87" fmla="*/ 1664655 w 7088212"/>
              <a:gd name="connsiteY87" fmla="*/ 0 h 6858000"/>
              <a:gd name="connsiteX88" fmla="*/ 1736238 w 7088212"/>
              <a:gd name="connsiteY88" fmla="*/ 0 h 6858000"/>
              <a:gd name="connsiteX89" fmla="*/ 71684 w 7088212"/>
              <a:gd name="connsiteY89" fmla="*/ 3434542 h 6858000"/>
              <a:gd name="connsiteX90" fmla="*/ 1740267 w 7088212"/>
              <a:gd name="connsiteY90" fmla="*/ 6858000 h 6858000"/>
              <a:gd name="connsiteX91" fmla="*/ 1668582 w 7088212"/>
              <a:gd name="connsiteY91" fmla="*/ 6858000 h 6858000"/>
              <a:gd name="connsiteX92" fmla="*/ 0 w 7088212"/>
              <a:gd name="connsiteY92" fmla="*/ 3434545 h 6858000"/>
              <a:gd name="connsiteX93" fmla="*/ 0 w 7088212"/>
              <a:gd name="connsiteY93" fmla="*/ 3434539 h 6858000"/>
              <a:gd name="connsiteX94" fmla="*/ 7167 w 7088212"/>
              <a:gd name="connsiteY94" fmla="*/ 34209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7088212" h="6858000">
                <a:moveTo>
                  <a:pt x="7088212" y="2316551"/>
                </a:moveTo>
                <a:lnTo>
                  <a:pt x="7088212" y="3270182"/>
                </a:lnTo>
                <a:lnTo>
                  <a:pt x="7088212" y="3597980"/>
                </a:lnTo>
                <a:lnTo>
                  <a:pt x="7088212" y="4546633"/>
                </a:lnTo>
                <a:lnTo>
                  <a:pt x="6546184" y="3434544"/>
                </a:lnTo>
                <a:close/>
                <a:moveTo>
                  <a:pt x="7088212" y="1297052"/>
                </a:moveTo>
                <a:lnTo>
                  <a:pt x="7088212" y="2251081"/>
                </a:lnTo>
                <a:lnTo>
                  <a:pt x="6514644" y="3434545"/>
                </a:lnTo>
                <a:lnTo>
                  <a:pt x="7088212" y="4611344"/>
                </a:lnTo>
                <a:lnTo>
                  <a:pt x="7088212" y="5559997"/>
                </a:lnTo>
                <a:lnTo>
                  <a:pt x="6052274" y="3434545"/>
                </a:lnTo>
                <a:close/>
                <a:moveTo>
                  <a:pt x="7088212" y="286451"/>
                </a:moveTo>
                <a:lnTo>
                  <a:pt x="7088212" y="1223092"/>
                </a:lnTo>
                <a:lnTo>
                  <a:pt x="6016431" y="3434543"/>
                </a:lnTo>
                <a:lnTo>
                  <a:pt x="7088212" y="5633535"/>
                </a:lnTo>
                <a:lnTo>
                  <a:pt x="7088212" y="6566009"/>
                </a:lnTo>
                <a:lnTo>
                  <a:pt x="5561946" y="3434543"/>
                </a:lnTo>
                <a:close/>
                <a:moveTo>
                  <a:pt x="6736761" y="1"/>
                </a:moveTo>
                <a:lnTo>
                  <a:pt x="7088212" y="1"/>
                </a:lnTo>
                <a:lnTo>
                  <a:pt x="7088212" y="195109"/>
                </a:lnTo>
                <a:lnTo>
                  <a:pt x="5518218" y="3434542"/>
                </a:lnTo>
                <a:lnTo>
                  <a:pt x="7088212" y="6655729"/>
                </a:lnTo>
                <a:lnTo>
                  <a:pt x="7088212" y="6858000"/>
                </a:lnTo>
                <a:lnTo>
                  <a:pt x="6740201" y="6858000"/>
                </a:lnTo>
                <a:lnTo>
                  <a:pt x="5071618" y="3434542"/>
                </a:lnTo>
                <a:close/>
                <a:moveTo>
                  <a:pt x="6238549" y="1"/>
                </a:moveTo>
                <a:lnTo>
                  <a:pt x="6692444" y="1"/>
                </a:lnTo>
                <a:lnTo>
                  <a:pt x="5027891" y="3434542"/>
                </a:lnTo>
                <a:lnTo>
                  <a:pt x="6696474" y="6858000"/>
                </a:lnTo>
                <a:lnTo>
                  <a:pt x="6241989" y="6858000"/>
                </a:lnTo>
                <a:lnTo>
                  <a:pt x="4573406" y="3434542"/>
                </a:lnTo>
                <a:close/>
                <a:moveTo>
                  <a:pt x="5748221" y="1"/>
                </a:moveTo>
                <a:lnTo>
                  <a:pt x="6194231" y="1"/>
                </a:lnTo>
                <a:lnTo>
                  <a:pt x="4529678" y="3434542"/>
                </a:lnTo>
                <a:lnTo>
                  <a:pt x="6198261" y="6858000"/>
                </a:lnTo>
                <a:lnTo>
                  <a:pt x="5751661" y="6858000"/>
                </a:lnTo>
                <a:lnTo>
                  <a:pt x="4083078" y="3434542"/>
                </a:lnTo>
                <a:close/>
                <a:moveTo>
                  <a:pt x="5257893" y="1"/>
                </a:moveTo>
                <a:lnTo>
                  <a:pt x="5696019" y="1"/>
                </a:lnTo>
                <a:lnTo>
                  <a:pt x="4031465" y="3434542"/>
                </a:lnTo>
                <a:lnTo>
                  <a:pt x="5700048" y="6858000"/>
                </a:lnTo>
                <a:lnTo>
                  <a:pt x="5261334" y="6858000"/>
                </a:lnTo>
                <a:lnTo>
                  <a:pt x="3592751" y="3434542"/>
                </a:lnTo>
                <a:close/>
                <a:moveTo>
                  <a:pt x="4787634" y="1"/>
                </a:moveTo>
                <a:lnTo>
                  <a:pt x="5178319" y="1"/>
                </a:lnTo>
                <a:lnTo>
                  <a:pt x="3513176" y="3434542"/>
                </a:lnTo>
                <a:lnTo>
                  <a:pt x="5182449" y="6858000"/>
                </a:lnTo>
                <a:lnTo>
                  <a:pt x="4791074" y="6858000"/>
                </a:lnTo>
                <a:lnTo>
                  <a:pt x="3122491" y="3434542"/>
                </a:lnTo>
                <a:close/>
                <a:moveTo>
                  <a:pt x="4309493" y="1"/>
                </a:moveTo>
                <a:lnTo>
                  <a:pt x="4668049" y="1"/>
                </a:lnTo>
                <a:lnTo>
                  <a:pt x="3003495" y="3434542"/>
                </a:lnTo>
                <a:lnTo>
                  <a:pt x="4672078" y="6858000"/>
                </a:lnTo>
                <a:lnTo>
                  <a:pt x="4312934" y="6858000"/>
                </a:lnTo>
                <a:lnTo>
                  <a:pt x="2644351" y="3434542"/>
                </a:lnTo>
                <a:close/>
                <a:moveTo>
                  <a:pt x="3827179" y="1"/>
                </a:moveTo>
                <a:lnTo>
                  <a:pt x="4161821" y="1"/>
                </a:lnTo>
                <a:lnTo>
                  <a:pt x="2496679" y="3434542"/>
                </a:lnTo>
                <a:lnTo>
                  <a:pt x="4165951" y="6858000"/>
                </a:lnTo>
                <a:lnTo>
                  <a:pt x="3831208" y="6858000"/>
                </a:lnTo>
                <a:lnTo>
                  <a:pt x="2162625" y="3434542"/>
                </a:lnTo>
                <a:close/>
                <a:moveTo>
                  <a:pt x="3396278" y="1"/>
                </a:moveTo>
                <a:lnTo>
                  <a:pt x="3658775" y="1"/>
                </a:lnTo>
                <a:lnTo>
                  <a:pt x="1994222" y="3434542"/>
                </a:lnTo>
                <a:lnTo>
                  <a:pt x="3662804" y="6858000"/>
                </a:lnTo>
                <a:lnTo>
                  <a:pt x="3399719" y="6858000"/>
                </a:lnTo>
                <a:lnTo>
                  <a:pt x="1731136" y="3434542"/>
                </a:lnTo>
                <a:close/>
                <a:moveTo>
                  <a:pt x="2965904" y="0"/>
                </a:moveTo>
                <a:lnTo>
                  <a:pt x="3196732" y="0"/>
                </a:lnTo>
                <a:lnTo>
                  <a:pt x="1531590" y="3434542"/>
                </a:lnTo>
                <a:lnTo>
                  <a:pt x="3200863" y="6858000"/>
                </a:lnTo>
                <a:lnTo>
                  <a:pt x="2969345" y="6858000"/>
                </a:lnTo>
                <a:lnTo>
                  <a:pt x="1300762" y="3434542"/>
                </a:lnTo>
                <a:close/>
                <a:moveTo>
                  <a:pt x="2506592" y="0"/>
                </a:moveTo>
                <a:lnTo>
                  <a:pt x="2690136" y="0"/>
                </a:lnTo>
                <a:lnTo>
                  <a:pt x="1025582" y="3434542"/>
                </a:lnTo>
                <a:lnTo>
                  <a:pt x="2694165" y="6858000"/>
                </a:lnTo>
                <a:lnTo>
                  <a:pt x="2510651" y="6858000"/>
                </a:lnTo>
                <a:lnTo>
                  <a:pt x="842068" y="3434542"/>
                </a:lnTo>
                <a:lnTo>
                  <a:pt x="859272" y="3398698"/>
                </a:lnTo>
                <a:close/>
                <a:moveTo>
                  <a:pt x="2066862" y="0"/>
                </a:moveTo>
                <a:lnTo>
                  <a:pt x="2178634" y="0"/>
                </a:lnTo>
                <a:lnTo>
                  <a:pt x="513490" y="3434542"/>
                </a:lnTo>
                <a:lnTo>
                  <a:pt x="2182763" y="6858000"/>
                </a:lnTo>
                <a:lnTo>
                  <a:pt x="2070961" y="6858000"/>
                </a:lnTo>
                <a:lnTo>
                  <a:pt x="402378" y="3434542"/>
                </a:lnTo>
                <a:lnTo>
                  <a:pt x="412414" y="3413036"/>
                </a:lnTo>
                <a:close/>
                <a:moveTo>
                  <a:pt x="1664655" y="0"/>
                </a:moveTo>
                <a:lnTo>
                  <a:pt x="1736238" y="0"/>
                </a:lnTo>
                <a:lnTo>
                  <a:pt x="71684" y="3434542"/>
                </a:lnTo>
                <a:lnTo>
                  <a:pt x="1740267" y="6858000"/>
                </a:lnTo>
                <a:lnTo>
                  <a:pt x="1668582" y="6858000"/>
                </a:lnTo>
                <a:lnTo>
                  <a:pt x="0" y="3434545"/>
                </a:lnTo>
                <a:lnTo>
                  <a:pt x="0" y="3434539"/>
                </a:lnTo>
                <a:lnTo>
                  <a:pt x="7167" y="3420921"/>
                </a:lnTo>
                <a:close/>
              </a:path>
            </a:pathLst>
          </a:custGeom>
          <a:gradFill>
            <a:gsLst>
              <a:gs pos="0">
                <a:srgbClr val="430099">
                  <a:alpha val="95000"/>
                </a:srgbClr>
              </a:gs>
              <a:gs pos="75000">
                <a:schemeClr val="tx2">
                  <a:alpha val="94000"/>
                </a:schemeClr>
              </a:gs>
            </a:gsLst>
            <a:lin ang="18600000" scaled="0"/>
          </a:gradFill>
          <a:effectLst/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>
                <a:solidFill>
                  <a:schemeClr val="bg1"/>
                </a:solidFill>
              </a:defRPr>
            </a:lvl1pPr>
          </a:lstStyle>
          <a:p>
            <a:pPr marL="146300" lvl="0" indent="-146300" algn="ctr"/>
            <a:r>
              <a:rPr lang="en-US" dirty="0"/>
              <a:t>Imag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3FE2BF8-828C-43E9-9772-0F79DCCE205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14485BA-E0C2-4D00-BA2A-0A9A05D5D462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EC883F4E-2F81-4391-AF85-48360AD41C5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8138" y="3227297"/>
            <a:ext cx="1242834" cy="1306603"/>
          </a:xfrm>
          <a:prstGeom prst="rect">
            <a:avLst/>
          </a:prstGeom>
          <a:noFill/>
          <a:effectLst/>
        </p:spPr>
        <p:txBody>
          <a:bodyPr vert="horz" wrap="none"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8800" b="1" spc="-226" baseline="0">
                <a:solidFill>
                  <a:schemeClr val="accent1"/>
                </a:solidFill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02" name="Text Placeholder 5">
            <a:extLst>
              <a:ext uri="{FF2B5EF4-FFF2-40B4-BE49-F238E27FC236}">
                <a16:creationId xmlns:a16="http://schemas.microsoft.com/office/drawing/2014/main" id="{D45EA242-18FC-4A96-9615-B392A4282B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26249" y="3364992"/>
            <a:ext cx="2820113" cy="1930908"/>
          </a:xfrm>
          <a:noFill/>
          <a:effectLst/>
        </p:spPr>
        <p:txBody>
          <a:bodyPr lIns="0" tIns="0" rIns="0" bIns="0">
            <a:normAutofit/>
          </a:bodyPr>
          <a:lstStyle>
            <a:lvl1pPr marL="0" indent="0">
              <a:spcBef>
                <a:spcPts val="400"/>
              </a:spcBef>
              <a:buFont typeface="Arial" panose="020B0604020202020204" pitchFamily="34" charset="0"/>
              <a:buNone/>
              <a:defRPr sz="2133" b="0">
                <a:solidFill>
                  <a:schemeClr val="accent1"/>
                </a:solidFill>
              </a:defRPr>
            </a:lvl1pPr>
            <a:lvl2pPr marL="170684" indent="0">
              <a:buNone/>
              <a:defRPr sz="2133" b="0"/>
            </a:lvl2pPr>
            <a:lvl3pPr marL="329176" indent="0">
              <a:buNone/>
              <a:defRPr sz="2133" b="0"/>
            </a:lvl3pPr>
            <a:lvl4pPr marL="621776" indent="0">
              <a:buFont typeface="Arial" panose="020B0604020202020204" pitchFamily="34" charset="0"/>
              <a:buNone/>
              <a:defRPr sz="2133" b="0"/>
            </a:lvl4pPr>
            <a:lvl5pPr marL="804652" indent="0">
              <a:buNone/>
              <a:defRPr sz="2133" b="0"/>
            </a:lvl5pPr>
          </a:lstStyle>
          <a:p>
            <a:pPr lvl="0"/>
            <a:r>
              <a:rPr lang="en-US" dirty="0"/>
              <a:t>Insert subtitle</a:t>
            </a:r>
            <a:br>
              <a:rPr lang="en-US" dirty="0"/>
            </a:br>
            <a:r>
              <a:rPr lang="en-US" dirty="0"/>
              <a:t>here.</a:t>
            </a:r>
          </a:p>
        </p:txBody>
      </p:sp>
      <p:sp>
        <p:nvSpPr>
          <p:cNvPr id="103" name="Title 1">
            <a:extLst>
              <a:ext uri="{FF2B5EF4-FFF2-40B4-BE49-F238E27FC236}">
                <a16:creationId xmlns:a16="http://schemas.microsoft.com/office/drawing/2014/main" id="{D206086A-C24E-4C32-AB1D-EEBB7106F1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0325" y="338138"/>
            <a:ext cx="4734424" cy="2904934"/>
          </a:xfrm>
        </p:spPr>
        <p:txBody>
          <a:bodyPr tIns="0" bIns="0" anchor="b" anchorCtr="0">
            <a:normAutofit/>
          </a:bodyPr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a section 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197B640-BF97-4402-B0F7-3FBE11E2334C}"/>
              </a:ext>
            </a:extLst>
          </p:cNvPr>
          <p:cNvGrpSpPr/>
          <p:nvPr userDrawn="1"/>
        </p:nvGrpSpPr>
        <p:grpSpPr bwMode="black">
          <a:xfrm>
            <a:off x="206232" y="6459731"/>
            <a:ext cx="890057" cy="224755"/>
            <a:chOff x="447675" y="4187826"/>
            <a:chExt cx="2049463" cy="517525"/>
          </a:xfrm>
          <a:solidFill>
            <a:schemeClr val="accent1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5A00657D-0E3C-4070-9828-6A53112DCC33}"/>
                </a:ext>
              </a:extLst>
            </p:cNvPr>
            <p:cNvSpPr>
              <a:spLocks/>
            </p:cNvSpPr>
            <p:nvPr/>
          </p:nvSpPr>
          <p:spPr bwMode="black">
            <a:xfrm>
              <a:off x="630238" y="4187826"/>
              <a:ext cx="95250" cy="517525"/>
            </a:xfrm>
            <a:custGeom>
              <a:avLst/>
              <a:gdLst>
                <a:gd name="T0" fmla="*/ 27 w 60"/>
                <a:gd name="T1" fmla="*/ 163 h 326"/>
                <a:gd name="T2" fmla="*/ 60 w 60"/>
                <a:gd name="T3" fmla="*/ 0 h 326"/>
                <a:gd name="T4" fmla="*/ 33 w 60"/>
                <a:gd name="T5" fmla="*/ 0 h 326"/>
                <a:gd name="T6" fmla="*/ 0 w 60"/>
                <a:gd name="T7" fmla="*/ 163 h 326"/>
                <a:gd name="T8" fmla="*/ 33 w 60"/>
                <a:gd name="T9" fmla="*/ 326 h 326"/>
                <a:gd name="T10" fmla="*/ 60 w 60"/>
                <a:gd name="T11" fmla="*/ 326 h 326"/>
                <a:gd name="T12" fmla="*/ 27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27" y="163"/>
                  </a:moveTo>
                  <a:lnTo>
                    <a:pt x="60" y="0"/>
                  </a:lnTo>
                  <a:lnTo>
                    <a:pt x="33" y="0"/>
                  </a:lnTo>
                  <a:lnTo>
                    <a:pt x="0" y="163"/>
                  </a:lnTo>
                  <a:lnTo>
                    <a:pt x="33" y="326"/>
                  </a:lnTo>
                  <a:lnTo>
                    <a:pt x="60" y="326"/>
                  </a:lnTo>
                  <a:lnTo>
                    <a:pt x="2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7ED8430C-296F-4A00-B108-2BDDBBA36904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7675" y="4187826"/>
              <a:ext cx="184150" cy="517525"/>
            </a:xfrm>
            <a:custGeom>
              <a:avLst/>
              <a:gdLst>
                <a:gd name="T0" fmla="*/ 30 w 116"/>
                <a:gd name="T1" fmla="*/ 163 h 326"/>
                <a:gd name="T2" fmla="*/ 116 w 116"/>
                <a:gd name="T3" fmla="*/ 0 h 326"/>
                <a:gd name="T4" fmla="*/ 86 w 116"/>
                <a:gd name="T5" fmla="*/ 0 h 326"/>
                <a:gd name="T6" fmla="*/ 0 w 116"/>
                <a:gd name="T7" fmla="*/ 163 h 326"/>
                <a:gd name="T8" fmla="*/ 86 w 116"/>
                <a:gd name="T9" fmla="*/ 326 h 326"/>
                <a:gd name="T10" fmla="*/ 116 w 116"/>
                <a:gd name="T11" fmla="*/ 326 h 326"/>
                <a:gd name="T12" fmla="*/ 30 w 116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326">
                  <a:moveTo>
                    <a:pt x="30" y="163"/>
                  </a:moveTo>
                  <a:lnTo>
                    <a:pt x="116" y="0"/>
                  </a:lnTo>
                  <a:lnTo>
                    <a:pt x="86" y="0"/>
                  </a:lnTo>
                  <a:lnTo>
                    <a:pt x="0" y="163"/>
                  </a:lnTo>
                  <a:lnTo>
                    <a:pt x="86" y="326"/>
                  </a:lnTo>
                  <a:lnTo>
                    <a:pt x="116" y="326"/>
                  </a:lnTo>
                  <a:lnTo>
                    <a:pt x="3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4CDEF6BF-F862-45AC-94FA-12944D259CFB}"/>
                </a:ext>
              </a:extLst>
            </p:cNvPr>
            <p:cNvSpPr>
              <a:spLocks/>
            </p:cNvSpPr>
            <p:nvPr/>
          </p:nvSpPr>
          <p:spPr bwMode="black">
            <a:xfrm>
              <a:off x="779463" y="4187826"/>
              <a:ext cx="95250" cy="517525"/>
            </a:xfrm>
            <a:custGeom>
              <a:avLst/>
              <a:gdLst>
                <a:gd name="T0" fmla="*/ 60 w 60"/>
                <a:gd name="T1" fmla="*/ 163 h 326"/>
                <a:gd name="T2" fmla="*/ 28 w 60"/>
                <a:gd name="T3" fmla="*/ 0 h 326"/>
                <a:gd name="T4" fmla="*/ 0 w 60"/>
                <a:gd name="T5" fmla="*/ 0 h 326"/>
                <a:gd name="T6" fmla="*/ 33 w 60"/>
                <a:gd name="T7" fmla="*/ 163 h 326"/>
                <a:gd name="T8" fmla="*/ 1 w 60"/>
                <a:gd name="T9" fmla="*/ 326 h 326"/>
                <a:gd name="T10" fmla="*/ 28 w 60"/>
                <a:gd name="T11" fmla="*/ 326 h 326"/>
                <a:gd name="T12" fmla="*/ 60 w 60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26">
                  <a:moveTo>
                    <a:pt x="60" y="163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33" y="163"/>
                  </a:lnTo>
                  <a:lnTo>
                    <a:pt x="1" y="326"/>
                  </a:lnTo>
                  <a:lnTo>
                    <a:pt x="28" y="326"/>
                  </a:lnTo>
                  <a:lnTo>
                    <a:pt x="6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6AFB5176-757C-41E4-A1D9-5F2E6F565535}"/>
                </a:ext>
              </a:extLst>
            </p:cNvPr>
            <p:cNvSpPr>
              <a:spLocks/>
            </p:cNvSpPr>
            <p:nvPr/>
          </p:nvSpPr>
          <p:spPr bwMode="black">
            <a:xfrm>
              <a:off x="873125" y="4187826"/>
              <a:ext cx="185738" cy="517525"/>
            </a:xfrm>
            <a:custGeom>
              <a:avLst/>
              <a:gdLst>
                <a:gd name="T0" fmla="*/ 117 w 117"/>
                <a:gd name="T1" fmla="*/ 163 h 326"/>
                <a:gd name="T2" fmla="*/ 31 w 117"/>
                <a:gd name="T3" fmla="*/ 0 h 326"/>
                <a:gd name="T4" fmla="*/ 0 w 117"/>
                <a:gd name="T5" fmla="*/ 0 h 326"/>
                <a:gd name="T6" fmla="*/ 87 w 117"/>
                <a:gd name="T7" fmla="*/ 163 h 326"/>
                <a:gd name="T8" fmla="*/ 1 w 117"/>
                <a:gd name="T9" fmla="*/ 326 h 326"/>
                <a:gd name="T10" fmla="*/ 31 w 117"/>
                <a:gd name="T11" fmla="*/ 326 h 326"/>
                <a:gd name="T12" fmla="*/ 117 w 117"/>
                <a:gd name="T13" fmla="*/ 1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6">
                  <a:moveTo>
                    <a:pt x="117" y="163"/>
                  </a:moveTo>
                  <a:lnTo>
                    <a:pt x="31" y="0"/>
                  </a:lnTo>
                  <a:lnTo>
                    <a:pt x="0" y="0"/>
                  </a:lnTo>
                  <a:lnTo>
                    <a:pt x="87" y="163"/>
                  </a:lnTo>
                  <a:lnTo>
                    <a:pt x="1" y="326"/>
                  </a:lnTo>
                  <a:lnTo>
                    <a:pt x="31" y="326"/>
                  </a:lnTo>
                  <a:lnTo>
                    <a:pt x="117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44F51AFB-D3E7-48C9-B99D-59085EED27A0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182688" y="4327526"/>
              <a:ext cx="1314450" cy="250825"/>
            </a:xfrm>
            <a:custGeom>
              <a:avLst/>
              <a:gdLst>
                <a:gd name="T0" fmla="*/ 1109 w 1225"/>
                <a:gd name="T1" fmla="*/ 35 h 233"/>
                <a:gd name="T2" fmla="*/ 1065 w 1225"/>
                <a:gd name="T3" fmla="*/ 146 h 233"/>
                <a:gd name="T4" fmla="*/ 1166 w 1225"/>
                <a:gd name="T5" fmla="*/ 178 h 233"/>
                <a:gd name="T6" fmla="*/ 1225 w 1225"/>
                <a:gd name="T7" fmla="*/ 233 h 233"/>
                <a:gd name="T8" fmla="*/ 1088 w 1225"/>
                <a:gd name="T9" fmla="*/ 0 h 233"/>
                <a:gd name="T10" fmla="*/ 1030 w 1225"/>
                <a:gd name="T11" fmla="*/ 233 h 233"/>
                <a:gd name="T12" fmla="*/ 947 w 1225"/>
                <a:gd name="T13" fmla="*/ 0 h 233"/>
                <a:gd name="T14" fmla="*/ 910 w 1225"/>
                <a:gd name="T15" fmla="*/ 233 h 233"/>
                <a:gd name="T16" fmla="*/ 947 w 1225"/>
                <a:gd name="T17" fmla="*/ 0 h 233"/>
                <a:gd name="T18" fmla="*/ 835 w 1225"/>
                <a:gd name="T19" fmla="*/ 0 h 233"/>
                <a:gd name="T20" fmla="*/ 709 w 1225"/>
                <a:gd name="T21" fmla="*/ 180 h 233"/>
                <a:gd name="T22" fmla="*/ 633 w 1225"/>
                <a:gd name="T23" fmla="*/ 0 h 233"/>
                <a:gd name="T24" fmla="*/ 584 w 1225"/>
                <a:gd name="T25" fmla="*/ 233 h 233"/>
                <a:gd name="T26" fmla="*/ 620 w 1225"/>
                <a:gd name="T27" fmla="*/ 59 h 233"/>
                <a:gd name="T28" fmla="*/ 693 w 1225"/>
                <a:gd name="T29" fmla="*/ 233 h 233"/>
                <a:gd name="T30" fmla="*/ 797 w 1225"/>
                <a:gd name="T31" fmla="*/ 58 h 233"/>
                <a:gd name="T32" fmla="*/ 798 w 1225"/>
                <a:gd name="T33" fmla="*/ 233 h 233"/>
                <a:gd name="T34" fmla="*/ 370 w 1225"/>
                <a:gd name="T35" fmla="*/ 0 h 233"/>
                <a:gd name="T36" fmla="*/ 521 w 1225"/>
                <a:gd name="T37" fmla="*/ 233 h 233"/>
                <a:gd name="T38" fmla="*/ 407 w 1225"/>
                <a:gd name="T39" fmla="*/ 200 h 233"/>
                <a:gd name="T40" fmla="*/ 510 w 1225"/>
                <a:gd name="T41" fmla="*/ 131 h 233"/>
                <a:gd name="T42" fmla="*/ 407 w 1225"/>
                <a:gd name="T43" fmla="*/ 98 h 233"/>
                <a:gd name="T44" fmla="*/ 520 w 1225"/>
                <a:gd name="T45" fmla="*/ 33 h 233"/>
                <a:gd name="T46" fmla="*/ 370 w 1225"/>
                <a:gd name="T47" fmla="*/ 0 h 233"/>
                <a:gd name="T48" fmla="*/ 259 w 1225"/>
                <a:gd name="T49" fmla="*/ 162 h 233"/>
                <a:gd name="T50" fmla="*/ 185 w 1225"/>
                <a:gd name="T51" fmla="*/ 199 h 233"/>
                <a:gd name="T52" fmla="*/ 148 w 1225"/>
                <a:gd name="T53" fmla="*/ 34 h 233"/>
                <a:gd name="T54" fmla="*/ 242 w 1225"/>
                <a:gd name="T55" fmla="*/ 52 h 233"/>
                <a:gd name="T56" fmla="*/ 310 w 1225"/>
                <a:gd name="T57" fmla="*/ 117 h 233"/>
                <a:gd name="T58" fmla="*/ 250 w 1225"/>
                <a:gd name="T59" fmla="*/ 14 h 233"/>
                <a:gd name="T60" fmla="*/ 112 w 1225"/>
                <a:gd name="T61" fmla="*/ 0 h 233"/>
                <a:gd name="T62" fmla="*/ 186 w 1225"/>
                <a:gd name="T63" fmla="*/ 233 h 233"/>
                <a:gd name="T64" fmla="*/ 310 w 1225"/>
                <a:gd name="T65" fmla="*/ 117 h 233"/>
                <a:gd name="T66" fmla="*/ 0 w 1225"/>
                <a:gd name="T67" fmla="*/ 0 h 233"/>
                <a:gd name="T68" fmla="*/ 36 w 1225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5" h="233">
                  <a:moveTo>
                    <a:pt x="1065" y="146"/>
                  </a:moveTo>
                  <a:cubicBezTo>
                    <a:pt x="1109" y="35"/>
                    <a:pt x="1109" y="35"/>
                    <a:pt x="1109" y="35"/>
                  </a:cubicBezTo>
                  <a:cubicBezTo>
                    <a:pt x="1153" y="146"/>
                    <a:pt x="1153" y="146"/>
                    <a:pt x="1153" y="146"/>
                  </a:cubicBezTo>
                  <a:lnTo>
                    <a:pt x="1065" y="146"/>
                  </a:lnTo>
                  <a:close/>
                  <a:moveTo>
                    <a:pt x="1052" y="178"/>
                  </a:moveTo>
                  <a:cubicBezTo>
                    <a:pt x="1166" y="178"/>
                    <a:pt x="1166" y="178"/>
                    <a:pt x="1166" y="178"/>
                  </a:cubicBezTo>
                  <a:cubicBezTo>
                    <a:pt x="1187" y="233"/>
                    <a:pt x="1187" y="233"/>
                    <a:pt x="1187" y="233"/>
                  </a:cubicBezTo>
                  <a:cubicBezTo>
                    <a:pt x="1225" y="233"/>
                    <a:pt x="1225" y="233"/>
                    <a:pt x="1225" y="233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992" y="233"/>
                    <a:pt x="992" y="233"/>
                    <a:pt x="992" y="233"/>
                  </a:cubicBezTo>
                  <a:cubicBezTo>
                    <a:pt x="1030" y="233"/>
                    <a:pt x="1030" y="233"/>
                    <a:pt x="1030" y="233"/>
                  </a:cubicBezTo>
                  <a:lnTo>
                    <a:pt x="1052" y="178"/>
                  </a:lnTo>
                  <a:close/>
                  <a:moveTo>
                    <a:pt x="947" y="0"/>
                  </a:moveTo>
                  <a:cubicBezTo>
                    <a:pt x="910" y="0"/>
                    <a:pt x="910" y="0"/>
                    <a:pt x="910" y="0"/>
                  </a:cubicBezTo>
                  <a:cubicBezTo>
                    <a:pt x="910" y="233"/>
                    <a:pt x="910" y="233"/>
                    <a:pt x="910" y="233"/>
                  </a:cubicBezTo>
                  <a:cubicBezTo>
                    <a:pt x="947" y="233"/>
                    <a:pt x="947" y="233"/>
                    <a:pt x="947" y="233"/>
                  </a:cubicBezTo>
                  <a:lnTo>
                    <a:pt x="947" y="0"/>
                  </a:lnTo>
                  <a:close/>
                  <a:moveTo>
                    <a:pt x="835" y="233"/>
                  </a:moveTo>
                  <a:cubicBezTo>
                    <a:pt x="835" y="0"/>
                    <a:pt x="835" y="0"/>
                    <a:pt x="835" y="0"/>
                  </a:cubicBezTo>
                  <a:cubicBezTo>
                    <a:pt x="784" y="0"/>
                    <a:pt x="784" y="0"/>
                    <a:pt x="784" y="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709" y="180"/>
                    <a:pt x="709" y="180"/>
                    <a:pt x="709" y="18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584" y="0"/>
                    <a:pt x="584" y="0"/>
                    <a:pt x="584" y="0"/>
                  </a:cubicBezTo>
                  <a:cubicBezTo>
                    <a:pt x="584" y="233"/>
                    <a:pt x="584" y="233"/>
                    <a:pt x="584" y="233"/>
                  </a:cubicBezTo>
                  <a:cubicBezTo>
                    <a:pt x="620" y="233"/>
                    <a:pt x="620" y="233"/>
                    <a:pt x="620" y="233"/>
                  </a:cubicBezTo>
                  <a:cubicBezTo>
                    <a:pt x="620" y="59"/>
                    <a:pt x="620" y="59"/>
                    <a:pt x="620" y="59"/>
                  </a:cubicBezTo>
                  <a:cubicBezTo>
                    <a:pt x="621" y="59"/>
                    <a:pt x="621" y="59"/>
                    <a:pt x="621" y="59"/>
                  </a:cubicBezTo>
                  <a:cubicBezTo>
                    <a:pt x="693" y="233"/>
                    <a:pt x="693" y="233"/>
                    <a:pt x="693" y="233"/>
                  </a:cubicBezTo>
                  <a:cubicBezTo>
                    <a:pt x="724" y="233"/>
                    <a:pt x="724" y="233"/>
                    <a:pt x="724" y="233"/>
                  </a:cubicBezTo>
                  <a:cubicBezTo>
                    <a:pt x="797" y="58"/>
                    <a:pt x="797" y="58"/>
                    <a:pt x="797" y="58"/>
                  </a:cubicBezTo>
                  <a:cubicBezTo>
                    <a:pt x="798" y="58"/>
                    <a:pt x="798" y="58"/>
                    <a:pt x="798" y="58"/>
                  </a:cubicBezTo>
                  <a:cubicBezTo>
                    <a:pt x="798" y="233"/>
                    <a:pt x="798" y="233"/>
                    <a:pt x="798" y="233"/>
                  </a:cubicBezTo>
                  <a:lnTo>
                    <a:pt x="835" y="233"/>
                  </a:lnTo>
                  <a:close/>
                  <a:moveTo>
                    <a:pt x="370" y="0"/>
                  </a:moveTo>
                  <a:cubicBezTo>
                    <a:pt x="370" y="233"/>
                    <a:pt x="370" y="233"/>
                    <a:pt x="370" y="233"/>
                  </a:cubicBezTo>
                  <a:cubicBezTo>
                    <a:pt x="521" y="233"/>
                    <a:pt x="521" y="233"/>
                    <a:pt x="521" y="233"/>
                  </a:cubicBezTo>
                  <a:cubicBezTo>
                    <a:pt x="521" y="200"/>
                    <a:pt x="521" y="200"/>
                    <a:pt x="521" y="200"/>
                  </a:cubicBezTo>
                  <a:cubicBezTo>
                    <a:pt x="407" y="200"/>
                    <a:pt x="407" y="200"/>
                    <a:pt x="407" y="200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510" y="131"/>
                    <a:pt x="510" y="131"/>
                    <a:pt x="510" y="131"/>
                  </a:cubicBezTo>
                  <a:cubicBezTo>
                    <a:pt x="510" y="98"/>
                    <a:pt x="510" y="98"/>
                    <a:pt x="510" y="98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07" y="33"/>
                    <a:pt x="407" y="33"/>
                    <a:pt x="407" y="33"/>
                  </a:cubicBezTo>
                  <a:cubicBezTo>
                    <a:pt x="520" y="33"/>
                    <a:pt x="520" y="33"/>
                    <a:pt x="520" y="33"/>
                  </a:cubicBezTo>
                  <a:cubicBezTo>
                    <a:pt x="520" y="0"/>
                    <a:pt x="520" y="0"/>
                    <a:pt x="520" y="0"/>
                  </a:cubicBezTo>
                  <a:lnTo>
                    <a:pt x="370" y="0"/>
                  </a:lnTo>
                  <a:close/>
                  <a:moveTo>
                    <a:pt x="272" y="117"/>
                  </a:moveTo>
                  <a:cubicBezTo>
                    <a:pt x="272" y="133"/>
                    <a:pt x="268" y="148"/>
                    <a:pt x="259" y="162"/>
                  </a:cubicBezTo>
                  <a:cubicBezTo>
                    <a:pt x="254" y="169"/>
                    <a:pt x="249" y="176"/>
                    <a:pt x="242" y="181"/>
                  </a:cubicBezTo>
                  <a:cubicBezTo>
                    <a:pt x="229" y="192"/>
                    <a:pt x="209" y="199"/>
                    <a:pt x="185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209" y="34"/>
                    <a:pt x="229" y="41"/>
                    <a:pt x="242" y="52"/>
                  </a:cubicBezTo>
                  <a:cubicBezTo>
                    <a:pt x="262" y="69"/>
                    <a:pt x="273" y="95"/>
                    <a:pt x="272" y="117"/>
                  </a:cubicBezTo>
                  <a:moveTo>
                    <a:pt x="310" y="117"/>
                  </a:moveTo>
                  <a:cubicBezTo>
                    <a:pt x="310" y="95"/>
                    <a:pt x="304" y="72"/>
                    <a:pt x="290" y="50"/>
                  </a:cubicBezTo>
                  <a:cubicBezTo>
                    <a:pt x="281" y="36"/>
                    <a:pt x="267" y="23"/>
                    <a:pt x="250" y="14"/>
                  </a:cubicBezTo>
                  <a:cubicBezTo>
                    <a:pt x="233" y="5"/>
                    <a:pt x="211" y="0"/>
                    <a:pt x="186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33"/>
                    <a:pt x="112" y="233"/>
                    <a:pt x="112" y="233"/>
                  </a:cubicBezTo>
                  <a:cubicBezTo>
                    <a:pt x="186" y="233"/>
                    <a:pt x="186" y="233"/>
                    <a:pt x="186" y="233"/>
                  </a:cubicBezTo>
                  <a:cubicBezTo>
                    <a:pt x="220" y="233"/>
                    <a:pt x="249" y="223"/>
                    <a:pt x="267" y="207"/>
                  </a:cubicBezTo>
                  <a:cubicBezTo>
                    <a:pt x="296" y="184"/>
                    <a:pt x="311" y="149"/>
                    <a:pt x="310" y="117"/>
                  </a:cubicBezTo>
                  <a:moveTo>
                    <a:pt x="3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36" y="233"/>
                    <a:pt x="36" y="233"/>
                    <a:pt x="36" y="233"/>
                  </a:cubicBez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62542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38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52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oleObject" Target="../embeddings/oleObject2.bin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slideLayout" Target="../slideLayouts/slideLayout60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vmlDrawing" Target="../drawings/vmlDrawing2.v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theme" Target="../theme/theme2.xml"/><Relationship Id="rId35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585541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35" imgW="359" imgH="360" progId="TCLayout.ActiveDocument.1">
                  <p:embed/>
                </p:oleObj>
              </mc:Choice>
              <mc:Fallback>
                <p:oleObj name="think-cell Slide" r:id="rId3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7464" y="293065"/>
            <a:ext cx="10080000" cy="4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8667" y="1328388"/>
            <a:ext cx="11514667" cy="4960227"/>
          </a:xfrm>
          <a:prstGeom prst="rect">
            <a:avLst/>
          </a:prstGeom>
          <a:noFill/>
          <a:effectLst/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5" name="Espace réservé de la date 14">
            <a:extLst>
              <a:ext uri="{FF2B5EF4-FFF2-40B4-BE49-F238E27FC236}">
                <a16:creationId xmlns:a16="http://schemas.microsoft.com/office/drawing/2014/main" id="{FD428055-B542-4B62-84CD-54FE7D9DCF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56807" y="6513358"/>
            <a:ext cx="648000" cy="14362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lang="en-US" sz="933" smtClean="0">
                <a:solidFill>
                  <a:srgbClr val="C8D0D7"/>
                </a:solidFill>
              </a:defRPr>
            </a:lvl1pPr>
          </a:lstStyle>
          <a:p>
            <a:fld id="{30EC908F-F11F-4050-8691-E10F9CC4B58C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16" name="Espace réservé du pied de page 15">
            <a:extLst>
              <a:ext uri="{FF2B5EF4-FFF2-40B4-BE49-F238E27FC236}">
                <a16:creationId xmlns:a16="http://schemas.microsoft.com/office/drawing/2014/main" id="{73177C42-7AED-42F1-8F05-357FFFF3B2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52000" y="6513358"/>
            <a:ext cx="7848000" cy="14362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933" smtClean="0">
                <a:solidFill>
                  <a:srgbClr val="C8D0D7"/>
                </a:solidFill>
                <a:latin typeface="+mn-lt"/>
              </a:defRPr>
            </a:lvl1pPr>
          </a:lstStyle>
          <a:p>
            <a:r>
              <a:rPr lang="en-US" dirty="0"/>
              <a:t>| Title of document </a:t>
            </a: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9472F0DB-9057-4C97-A32C-DCE57DDC66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5599" y="6513358"/>
            <a:ext cx="720000" cy="14362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933" smtClean="0">
                <a:solidFill>
                  <a:srgbClr val="C8D0D7"/>
                </a:solidFill>
              </a:defRPr>
            </a:lvl1pPr>
          </a:lstStyle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836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24" r:id="rId1"/>
    <p:sldLayoutId id="2147484925" r:id="rId2"/>
    <p:sldLayoutId id="2147485015" r:id="rId3"/>
    <p:sldLayoutId id="2147485016" r:id="rId4"/>
    <p:sldLayoutId id="2147485017" r:id="rId5"/>
    <p:sldLayoutId id="2147484938" r:id="rId6"/>
    <p:sldLayoutId id="2147484939" r:id="rId7"/>
    <p:sldLayoutId id="2147484940" r:id="rId8"/>
    <p:sldLayoutId id="2147484941" r:id="rId9"/>
    <p:sldLayoutId id="2147484942" r:id="rId10"/>
    <p:sldLayoutId id="2147484943" r:id="rId11"/>
    <p:sldLayoutId id="2147484944" r:id="rId12"/>
    <p:sldLayoutId id="2147484821" r:id="rId13"/>
    <p:sldLayoutId id="2147484819" r:id="rId14"/>
    <p:sldLayoutId id="2147484946" r:id="rId15"/>
    <p:sldLayoutId id="2147484947" r:id="rId16"/>
    <p:sldLayoutId id="2147484948" r:id="rId17"/>
    <p:sldLayoutId id="2147484949" r:id="rId18"/>
    <p:sldLayoutId id="2147484950" r:id="rId19"/>
    <p:sldLayoutId id="2147484951" r:id="rId20"/>
    <p:sldLayoutId id="2147484952" r:id="rId21"/>
    <p:sldLayoutId id="2147484953" r:id="rId22"/>
    <p:sldLayoutId id="2147484954" r:id="rId23"/>
    <p:sldLayoutId id="2147484955" r:id="rId24"/>
    <p:sldLayoutId id="2147484956" r:id="rId25"/>
    <p:sldLayoutId id="2147484957" r:id="rId26"/>
    <p:sldLayoutId id="2147484958" r:id="rId27"/>
    <p:sldLayoutId id="2147484959" r:id="rId28"/>
    <p:sldLayoutId id="2147484960" r:id="rId29"/>
    <p:sldLayoutId id="2147484961" r:id="rId30"/>
    <p:sldLayoutId id="2147484962" r:id="rId31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tabLst/>
        <a:defRPr sz="3467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6300" indent="-146300" algn="l" defTabSz="914377" rtl="0" eaLnBrk="1" latinLnBrk="0" hangingPunct="1">
        <a:lnSpc>
          <a:spcPct val="90000"/>
        </a:lnSpc>
        <a:spcBef>
          <a:spcPts val="1600"/>
        </a:spcBef>
        <a:buFontTx/>
        <a:buBlip>
          <a:blip r:embed="rId37"/>
        </a:buBlip>
        <a:defRPr sz="2133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316984" indent="-146300" algn="l" defTabSz="914377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621776" indent="-292601" algn="l" defTabSz="914377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→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768077" indent="-146300" algn="l" defTabSz="914377" rtl="0" eaLnBrk="1" latinLnBrk="0" hangingPunct="1">
        <a:lnSpc>
          <a:spcPct val="90000"/>
        </a:lnSpc>
        <a:spcBef>
          <a:spcPts val="533"/>
        </a:spcBef>
        <a:buFontTx/>
        <a:buBlip>
          <a:blip r:embed="rId38"/>
        </a:buBlip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indent="-109725" algn="l" defTabSz="914377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333" kern="1200">
          <a:solidFill>
            <a:schemeClr val="bg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213">
          <p15:clr>
            <a:srgbClr val="F26B43"/>
          </p15:clr>
        </p15:guide>
        <p15:guide id="4" pos="1288">
          <p15:clr>
            <a:srgbClr val="F26B43"/>
          </p15:clr>
        </p15:guide>
        <p15:guide id="5" pos="1448">
          <p15:clr>
            <a:srgbClr val="F26B43"/>
          </p15:clr>
        </p15:guide>
        <p15:guide id="6" pos="2524">
          <p15:clr>
            <a:srgbClr val="F26B43"/>
          </p15:clr>
        </p15:guide>
        <p15:guide id="7" pos="2684">
          <p15:clr>
            <a:srgbClr val="F26B43"/>
          </p15:clr>
        </p15:guide>
        <p15:guide id="8" pos="3760">
          <p15:clr>
            <a:srgbClr val="F26B43"/>
          </p15:clr>
        </p15:guide>
        <p15:guide id="9" pos="3920">
          <p15:clr>
            <a:srgbClr val="F26B43"/>
          </p15:clr>
        </p15:guide>
        <p15:guide id="10" pos="4995">
          <p15:clr>
            <a:srgbClr val="F26B43"/>
          </p15:clr>
        </p15:guide>
        <p15:guide id="11" pos="5155">
          <p15:clr>
            <a:srgbClr val="F26B43"/>
          </p15:clr>
        </p15:guide>
        <p15:guide id="12" pos="6231">
          <p15:clr>
            <a:srgbClr val="F26B43"/>
          </p15:clr>
        </p15:guide>
        <p15:guide id="13" pos="6391">
          <p15:clr>
            <a:srgbClr val="F26B43"/>
          </p15:clr>
        </p15:guide>
        <p15:guide id="14" pos="7467">
          <p15:clr>
            <a:srgbClr val="F26B43"/>
          </p15:clr>
        </p15:guide>
        <p15:guide id="15" orient="horz">
          <p15:clr>
            <a:srgbClr val="F26B43"/>
          </p15:clr>
        </p15:guide>
        <p15:guide id="16" orient="horz" pos="4320">
          <p15:clr>
            <a:srgbClr val="F26B43"/>
          </p15:clr>
        </p15:guide>
        <p15:guide id="17" orient="horz" pos="213">
          <p15:clr>
            <a:srgbClr val="F26B43"/>
          </p15:clr>
        </p15:guide>
        <p15:guide id="18" orient="horz" pos="357">
          <p15:clr>
            <a:srgbClr val="F26B43"/>
          </p15:clr>
        </p15:guide>
        <p15:guide id="19" orient="horz" pos="837">
          <p15:clr>
            <a:srgbClr val="F26B43"/>
          </p15:clr>
        </p15:guide>
        <p15:guide id="20" orient="horz" pos="983">
          <p15:clr>
            <a:srgbClr val="F26B43"/>
          </p15:clr>
        </p15:guide>
        <p15:guide id="21" orient="horz" pos="1463">
          <p15:clr>
            <a:srgbClr val="F26B43"/>
          </p15:clr>
        </p15:guide>
        <p15:guide id="22" orient="horz" pos="1607">
          <p15:clr>
            <a:srgbClr val="F26B43"/>
          </p15:clr>
        </p15:guide>
        <p15:guide id="23" orient="horz" pos="2087">
          <p15:clr>
            <a:srgbClr val="F26B43"/>
          </p15:clr>
        </p15:guide>
        <p15:guide id="24" orient="horz" pos="2232">
          <p15:clr>
            <a:srgbClr val="F26B43"/>
          </p15:clr>
        </p15:guide>
        <p15:guide id="25" orient="horz" pos="2712">
          <p15:clr>
            <a:srgbClr val="F26B43"/>
          </p15:clr>
        </p15:guide>
        <p15:guide id="26" orient="horz" pos="2856">
          <p15:clr>
            <a:srgbClr val="F26B43"/>
          </p15:clr>
        </p15:guide>
        <p15:guide id="27" orient="horz" pos="3336">
          <p15:clr>
            <a:srgbClr val="F26B43"/>
          </p15:clr>
        </p15:guide>
        <p15:guide id="28" orient="horz" pos="3481">
          <p15:clr>
            <a:srgbClr val="F26B43"/>
          </p15:clr>
        </p15:guide>
        <p15:guide id="29" orient="horz" pos="3961">
          <p15:clr>
            <a:srgbClr val="F26B43"/>
          </p15:clr>
        </p15:guide>
        <p15:guide id="30" orient="horz" pos="410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466725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Slide" r:id="rId33" imgW="359" imgH="360" progId="TCLayout.ActiveDocument.1">
                  <p:embed/>
                </p:oleObj>
              </mc:Choice>
              <mc:Fallback>
                <p:oleObj name="think-cell Slide" r:id="rId3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7464" y="293065"/>
            <a:ext cx="11535869" cy="4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8667" y="1328388"/>
            <a:ext cx="11514667" cy="4960227"/>
          </a:xfrm>
          <a:prstGeom prst="rect">
            <a:avLst/>
          </a:prstGeom>
          <a:noFill/>
          <a:effectLst/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5" name="Espace réservé de la date 14">
            <a:extLst>
              <a:ext uri="{FF2B5EF4-FFF2-40B4-BE49-F238E27FC236}">
                <a16:creationId xmlns:a16="http://schemas.microsoft.com/office/drawing/2014/main" id="{FD428055-B542-4B62-84CD-54FE7D9DCF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56807" y="6513358"/>
            <a:ext cx="648000" cy="14362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lang="en-US" sz="933" smtClean="0">
                <a:solidFill>
                  <a:srgbClr val="C8D0D7"/>
                </a:solidFill>
              </a:defRPr>
            </a:lvl1pPr>
          </a:lstStyle>
          <a:p>
            <a:fld id="{E3779B6A-3D55-4078-B67E-9A546BCBDE06}" type="datetime1">
              <a:rPr lang="en-US" smtClean="0"/>
              <a:t>2/17/2023</a:t>
            </a:fld>
            <a:endParaRPr lang="en-US" dirty="0"/>
          </a:p>
        </p:txBody>
      </p:sp>
      <p:sp>
        <p:nvSpPr>
          <p:cNvPr id="16" name="Espace réservé du pied de page 15">
            <a:extLst>
              <a:ext uri="{FF2B5EF4-FFF2-40B4-BE49-F238E27FC236}">
                <a16:creationId xmlns:a16="http://schemas.microsoft.com/office/drawing/2014/main" id="{73177C42-7AED-42F1-8F05-357FFFF3B2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52000" y="6513358"/>
            <a:ext cx="7848000" cy="14362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933" smtClean="0">
                <a:solidFill>
                  <a:srgbClr val="C8D0D7"/>
                </a:solidFill>
                <a:latin typeface="+mn-lt"/>
              </a:defRPr>
            </a:lvl1pPr>
          </a:lstStyle>
          <a:p>
            <a:r>
              <a:rPr lang="en-US" dirty="0"/>
              <a:t>| Title of document </a:t>
            </a: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9472F0DB-9057-4C97-A32C-DCE57DDC66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5600" y="6513358"/>
            <a:ext cx="720000" cy="14362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933" smtClean="0">
                <a:solidFill>
                  <a:srgbClr val="C8D0D7"/>
                </a:solidFill>
              </a:defRPr>
            </a:lvl1pPr>
          </a:lstStyle>
          <a:p>
            <a:fld id="{C8A1D443-2124-48EA-973E-E595E49506E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97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4" r:id="rId1"/>
    <p:sldLayoutId id="2147484965" r:id="rId2"/>
    <p:sldLayoutId id="2147485012" r:id="rId3"/>
    <p:sldLayoutId id="2147485013" r:id="rId4"/>
    <p:sldLayoutId id="2147485014" r:id="rId5"/>
    <p:sldLayoutId id="2147484969" r:id="rId6"/>
    <p:sldLayoutId id="2147484970" r:id="rId7"/>
    <p:sldLayoutId id="2147484971" r:id="rId8"/>
    <p:sldLayoutId id="2147484972" r:id="rId9"/>
    <p:sldLayoutId id="2147484973" r:id="rId10"/>
    <p:sldLayoutId id="2147484974" r:id="rId11"/>
    <p:sldLayoutId id="2147484975" r:id="rId12"/>
    <p:sldLayoutId id="2147484976" r:id="rId13"/>
    <p:sldLayoutId id="2147484987" r:id="rId14"/>
    <p:sldLayoutId id="2147484988" r:id="rId15"/>
    <p:sldLayoutId id="2147484998" r:id="rId16"/>
    <p:sldLayoutId id="2147484999" r:id="rId17"/>
    <p:sldLayoutId id="2147485000" r:id="rId18"/>
    <p:sldLayoutId id="2147485001" r:id="rId19"/>
    <p:sldLayoutId id="2147485002" r:id="rId20"/>
    <p:sldLayoutId id="2147485003" r:id="rId21"/>
    <p:sldLayoutId id="2147485004" r:id="rId22"/>
    <p:sldLayoutId id="2147485005" r:id="rId23"/>
    <p:sldLayoutId id="2147485006" r:id="rId24"/>
    <p:sldLayoutId id="2147485007" r:id="rId25"/>
    <p:sldLayoutId id="2147485008" r:id="rId26"/>
    <p:sldLayoutId id="2147485009" r:id="rId27"/>
    <p:sldLayoutId id="2147485010" r:id="rId28"/>
    <p:sldLayoutId id="2147485011" r:id="rId29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467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6300" indent="-146300" algn="l" defTabSz="914377" rtl="0" eaLnBrk="1" latinLnBrk="0" hangingPunct="1">
        <a:lnSpc>
          <a:spcPct val="90000"/>
        </a:lnSpc>
        <a:spcBef>
          <a:spcPts val="1600"/>
        </a:spcBef>
        <a:buFontTx/>
        <a:buBlip>
          <a:blip r:embed="rId35"/>
        </a:buBlip>
        <a:defRPr sz="2133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316984" indent="-146300" algn="l" defTabSz="914377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621776" indent="-292601" algn="l" defTabSz="914377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→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768077" indent="-146300" algn="l" defTabSz="914377" rtl="0" eaLnBrk="1" latinLnBrk="0" hangingPunct="1">
        <a:lnSpc>
          <a:spcPct val="90000"/>
        </a:lnSpc>
        <a:spcBef>
          <a:spcPts val="533"/>
        </a:spcBef>
        <a:buFontTx/>
        <a:buBlip>
          <a:blip r:embed="rId36"/>
        </a:buBlip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indent="-109725" algn="l" defTabSz="914377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333" kern="1200">
          <a:solidFill>
            <a:schemeClr val="bg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213">
          <p15:clr>
            <a:srgbClr val="F26B43"/>
          </p15:clr>
        </p15:guide>
        <p15:guide id="4" pos="1288">
          <p15:clr>
            <a:srgbClr val="F26B43"/>
          </p15:clr>
        </p15:guide>
        <p15:guide id="5" pos="1448">
          <p15:clr>
            <a:srgbClr val="F26B43"/>
          </p15:clr>
        </p15:guide>
        <p15:guide id="6" pos="2524">
          <p15:clr>
            <a:srgbClr val="F26B43"/>
          </p15:clr>
        </p15:guide>
        <p15:guide id="7" pos="2684">
          <p15:clr>
            <a:srgbClr val="F26B43"/>
          </p15:clr>
        </p15:guide>
        <p15:guide id="8" pos="3760">
          <p15:clr>
            <a:srgbClr val="F26B43"/>
          </p15:clr>
        </p15:guide>
        <p15:guide id="9" pos="3920">
          <p15:clr>
            <a:srgbClr val="F26B43"/>
          </p15:clr>
        </p15:guide>
        <p15:guide id="10" pos="4995">
          <p15:clr>
            <a:srgbClr val="F26B43"/>
          </p15:clr>
        </p15:guide>
        <p15:guide id="11" pos="5155">
          <p15:clr>
            <a:srgbClr val="F26B43"/>
          </p15:clr>
        </p15:guide>
        <p15:guide id="12" pos="6231">
          <p15:clr>
            <a:srgbClr val="F26B43"/>
          </p15:clr>
        </p15:guide>
        <p15:guide id="13" pos="6391">
          <p15:clr>
            <a:srgbClr val="F26B43"/>
          </p15:clr>
        </p15:guide>
        <p15:guide id="14" pos="7467">
          <p15:clr>
            <a:srgbClr val="F26B43"/>
          </p15:clr>
        </p15:guide>
        <p15:guide id="15" orient="horz">
          <p15:clr>
            <a:srgbClr val="F26B43"/>
          </p15:clr>
        </p15:guide>
        <p15:guide id="16" orient="horz" pos="4320">
          <p15:clr>
            <a:srgbClr val="F26B43"/>
          </p15:clr>
        </p15:guide>
        <p15:guide id="17" orient="horz" pos="213">
          <p15:clr>
            <a:srgbClr val="F26B43"/>
          </p15:clr>
        </p15:guide>
        <p15:guide id="18" orient="horz" pos="357">
          <p15:clr>
            <a:srgbClr val="F26B43"/>
          </p15:clr>
        </p15:guide>
        <p15:guide id="19" orient="horz" pos="837">
          <p15:clr>
            <a:srgbClr val="F26B43"/>
          </p15:clr>
        </p15:guide>
        <p15:guide id="20" orient="horz" pos="983">
          <p15:clr>
            <a:srgbClr val="F26B43"/>
          </p15:clr>
        </p15:guide>
        <p15:guide id="21" orient="horz" pos="1463">
          <p15:clr>
            <a:srgbClr val="F26B43"/>
          </p15:clr>
        </p15:guide>
        <p15:guide id="22" orient="horz" pos="1607">
          <p15:clr>
            <a:srgbClr val="F26B43"/>
          </p15:clr>
        </p15:guide>
        <p15:guide id="23" orient="horz" pos="2087">
          <p15:clr>
            <a:srgbClr val="F26B43"/>
          </p15:clr>
        </p15:guide>
        <p15:guide id="24" orient="horz" pos="2232">
          <p15:clr>
            <a:srgbClr val="F26B43"/>
          </p15:clr>
        </p15:guide>
        <p15:guide id="25" orient="horz" pos="2712">
          <p15:clr>
            <a:srgbClr val="F26B43"/>
          </p15:clr>
        </p15:guide>
        <p15:guide id="26" orient="horz" pos="2856">
          <p15:clr>
            <a:srgbClr val="F26B43"/>
          </p15:clr>
        </p15:guide>
        <p15:guide id="27" orient="horz" pos="3336">
          <p15:clr>
            <a:srgbClr val="F26B43"/>
          </p15:clr>
        </p15:guide>
        <p15:guide id="28" orient="horz" pos="3481">
          <p15:clr>
            <a:srgbClr val="F26B43"/>
          </p15:clr>
        </p15:guide>
        <p15:guide id="29" orient="horz" pos="3961">
          <p15:clr>
            <a:srgbClr val="F26B43"/>
          </p15:clr>
        </p15:guide>
        <p15:guide id="30" orient="horz" pos="410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10" Type="http://schemas.openxmlformats.org/officeDocument/2006/relationships/image" Target="../media/image9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1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11" Type="http://schemas.openxmlformats.org/officeDocument/2006/relationships/image" Target="../media/image15.emf"/><Relationship Id="rId5" Type="http://schemas.openxmlformats.org/officeDocument/2006/relationships/image" Target="../media/image1.emf"/><Relationship Id="rId10" Type="http://schemas.openxmlformats.org/officeDocument/2006/relationships/image" Target="../media/image14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7941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5EC9220-83C5-487F-91B4-0883982AE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2427" y="293065"/>
            <a:ext cx="9640116" cy="480000"/>
          </a:xfrm>
        </p:spPr>
        <p:txBody>
          <a:bodyPr vert="horz"/>
          <a:lstStyle/>
          <a:p>
            <a:r>
              <a:rPr lang="en-US" dirty="0" smtClean="0">
                <a:solidFill>
                  <a:srgbClr val="36B7B4"/>
                </a:solidFill>
              </a:rPr>
              <a:t>Us (AND GLOBAL) CONSUMERS EMBRACE BIOMETRICS*</a:t>
            </a:r>
            <a:endParaRPr lang="en-US" dirty="0">
              <a:solidFill>
                <a:srgbClr val="36B7B4"/>
              </a:solidFill>
            </a:endParaRPr>
          </a:p>
        </p:txBody>
      </p:sp>
      <p:grpSp>
        <p:nvGrpSpPr>
          <p:cNvPr id="232" name="Graphique 81">
            <a:extLst>
              <a:ext uri="{FF2B5EF4-FFF2-40B4-BE49-F238E27FC236}">
                <a16:creationId xmlns:a16="http://schemas.microsoft.com/office/drawing/2014/main" id="{8C97B9EB-05C4-4CC3-BDFA-525C7E16DC37}"/>
              </a:ext>
            </a:extLst>
          </p:cNvPr>
          <p:cNvGrpSpPr>
            <a:grpSpLocks noChangeAspect="1"/>
          </p:cNvGrpSpPr>
          <p:nvPr/>
        </p:nvGrpSpPr>
        <p:grpSpPr>
          <a:xfrm>
            <a:off x="392515" y="293065"/>
            <a:ext cx="422187" cy="822998"/>
            <a:chOff x="2389465" y="1817499"/>
            <a:chExt cx="321335" cy="626400"/>
          </a:xfrm>
        </p:grpSpPr>
        <p:sp>
          <p:nvSpPr>
            <p:cNvPr id="233" name="Forme libre : forme 37">
              <a:extLst>
                <a:ext uri="{FF2B5EF4-FFF2-40B4-BE49-F238E27FC236}">
                  <a16:creationId xmlns:a16="http://schemas.microsoft.com/office/drawing/2014/main" id="{2FEDD969-DE27-486A-B326-1F674707A170}"/>
                </a:ext>
              </a:extLst>
            </p:cNvPr>
            <p:cNvSpPr/>
            <p:nvPr/>
          </p:nvSpPr>
          <p:spPr>
            <a:xfrm>
              <a:off x="2563032" y="1817499"/>
              <a:ext cx="142945" cy="208025"/>
            </a:xfrm>
            <a:custGeom>
              <a:avLst/>
              <a:gdLst>
                <a:gd name="connsiteX0" fmla="*/ 143119 w 142944"/>
                <a:gd name="connsiteY0" fmla="*/ 208548 h 208025"/>
                <a:gd name="connsiteX1" fmla="*/ 0 w 142944"/>
                <a:gd name="connsiteY1" fmla="*/ 52820 h 208025"/>
                <a:gd name="connsiteX2" fmla="*/ 0 w 142944"/>
                <a:gd name="connsiteY2" fmla="*/ 0 h 2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944" h="208025">
                  <a:moveTo>
                    <a:pt x="143119" y="208548"/>
                  </a:moveTo>
                  <a:cubicBezTo>
                    <a:pt x="143119" y="126558"/>
                    <a:pt x="80130" y="59444"/>
                    <a:pt x="0" y="52820"/>
                  </a:cubicBez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32B4B4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457178">
                <a:defRPr/>
              </a:pPr>
              <a:endParaRPr lang="en-US" dirty="0">
                <a:solidFill>
                  <a:srgbClr val="646464"/>
                </a:solidFill>
                <a:latin typeface="Arial"/>
              </a:endParaRPr>
            </a:p>
          </p:txBody>
        </p:sp>
        <p:sp>
          <p:nvSpPr>
            <p:cNvPr id="234" name="Forme libre : forme 38">
              <a:extLst>
                <a:ext uri="{FF2B5EF4-FFF2-40B4-BE49-F238E27FC236}">
                  <a16:creationId xmlns:a16="http://schemas.microsoft.com/office/drawing/2014/main" id="{0128AD13-C4DB-480E-AC9A-0ECD1664B5C0}"/>
                </a:ext>
              </a:extLst>
            </p:cNvPr>
            <p:cNvSpPr/>
            <p:nvPr/>
          </p:nvSpPr>
          <p:spPr>
            <a:xfrm>
              <a:off x="2393823" y="1817499"/>
              <a:ext cx="259741" cy="521225"/>
            </a:xfrm>
            <a:custGeom>
              <a:avLst/>
              <a:gdLst>
                <a:gd name="connsiteX0" fmla="*/ 143119 w 259740"/>
                <a:gd name="connsiteY0" fmla="*/ 0 h 521225"/>
                <a:gd name="connsiteX1" fmla="*/ 143119 w 259740"/>
                <a:gd name="connsiteY1" fmla="*/ 52820 h 521225"/>
                <a:gd name="connsiteX2" fmla="*/ 0 w 259740"/>
                <a:gd name="connsiteY2" fmla="*/ 208548 h 521225"/>
                <a:gd name="connsiteX3" fmla="*/ 156135 w 259740"/>
                <a:gd name="connsiteY3" fmla="*/ 365264 h 521225"/>
                <a:gd name="connsiteX4" fmla="*/ 208141 w 259740"/>
                <a:gd name="connsiteY4" fmla="*/ 417561 h 521225"/>
                <a:gd name="connsiteX5" fmla="*/ 156135 w 259740"/>
                <a:gd name="connsiteY5" fmla="*/ 469568 h 521225"/>
                <a:gd name="connsiteX6" fmla="*/ 104129 w 259740"/>
                <a:gd name="connsiteY6" fmla="*/ 417561 h 521225"/>
                <a:gd name="connsiteX7" fmla="*/ 52181 w 259740"/>
                <a:gd name="connsiteY7" fmla="*/ 417503 h 521225"/>
                <a:gd name="connsiteX8" fmla="*/ 156135 w 259740"/>
                <a:gd name="connsiteY8" fmla="*/ 521458 h 521225"/>
                <a:gd name="connsiteX9" fmla="*/ 260090 w 259740"/>
                <a:gd name="connsiteY9" fmla="*/ 417503 h 521225"/>
                <a:gd name="connsiteX10" fmla="*/ 156135 w 259740"/>
                <a:gd name="connsiteY10" fmla="*/ 313142 h 521225"/>
                <a:gd name="connsiteX11" fmla="*/ 52181 w 259740"/>
                <a:gd name="connsiteY11" fmla="*/ 208781 h 521225"/>
                <a:gd name="connsiteX12" fmla="*/ 156135 w 259740"/>
                <a:gd name="connsiteY12" fmla="*/ 104826 h 521225"/>
                <a:gd name="connsiteX13" fmla="*/ 260090 w 259740"/>
                <a:gd name="connsiteY13" fmla="*/ 208781 h 52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9740" h="521225">
                  <a:moveTo>
                    <a:pt x="143119" y="0"/>
                  </a:moveTo>
                  <a:lnTo>
                    <a:pt x="143119" y="52820"/>
                  </a:lnTo>
                  <a:cubicBezTo>
                    <a:pt x="62989" y="59444"/>
                    <a:pt x="0" y="126558"/>
                    <a:pt x="0" y="208548"/>
                  </a:cubicBezTo>
                  <a:cubicBezTo>
                    <a:pt x="0" y="294896"/>
                    <a:pt x="69903" y="365264"/>
                    <a:pt x="156135" y="365264"/>
                  </a:cubicBezTo>
                  <a:cubicBezTo>
                    <a:pt x="184840" y="365264"/>
                    <a:pt x="208141" y="388856"/>
                    <a:pt x="208141" y="417561"/>
                  </a:cubicBezTo>
                  <a:cubicBezTo>
                    <a:pt x="208141" y="446266"/>
                    <a:pt x="184840" y="469568"/>
                    <a:pt x="156135" y="469568"/>
                  </a:cubicBezTo>
                  <a:cubicBezTo>
                    <a:pt x="127430" y="469568"/>
                    <a:pt x="104129" y="446325"/>
                    <a:pt x="104129" y="417561"/>
                  </a:cubicBezTo>
                  <a:moveTo>
                    <a:pt x="52181" y="417503"/>
                  </a:moveTo>
                  <a:cubicBezTo>
                    <a:pt x="52181" y="474913"/>
                    <a:pt x="98725" y="521458"/>
                    <a:pt x="156135" y="521458"/>
                  </a:cubicBezTo>
                  <a:cubicBezTo>
                    <a:pt x="213545" y="521458"/>
                    <a:pt x="260090" y="474913"/>
                    <a:pt x="260090" y="417503"/>
                  </a:cubicBezTo>
                  <a:cubicBezTo>
                    <a:pt x="260090" y="360093"/>
                    <a:pt x="213545" y="313142"/>
                    <a:pt x="156135" y="313142"/>
                  </a:cubicBezTo>
                  <a:cubicBezTo>
                    <a:pt x="98725" y="313142"/>
                    <a:pt x="52181" y="266191"/>
                    <a:pt x="52181" y="208781"/>
                  </a:cubicBezTo>
                  <a:cubicBezTo>
                    <a:pt x="52181" y="151370"/>
                    <a:pt x="98725" y="104826"/>
                    <a:pt x="156135" y="104826"/>
                  </a:cubicBezTo>
                  <a:cubicBezTo>
                    <a:pt x="213545" y="104826"/>
                    <a:pt x="260090" y="151370"/>
                    <a:pt x="260090" y="208781"/>
                  </a:cubicBezTo>
                </a:path>
              </a:pathLst>
            </a:custGeom>
            <a:noFill/>
            <a:ln w="12700" cap="flat">
              <a:solidFill>
                <a:srgbClr val="32B4B4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457178">
                <a:defRPr/>
              </a:pPr>
              <a:endParaRPr lang="en-US" dirty="0">
                <a:solidFill>
                  <a:srgbClr val="646464"/>
                </a:solidFill>
                <a:latin typeface="Arial"/>
              </a:endParaRPr>
            </a:p>
          </p:txBody>
        </p:sp>
        <p:sp>
          <p:nvSpPr>
            <p:cNvPr id="235" name="Forme libre : forme 39">
              <a:extLst>
                <a:ext uri="{FF2B5EF4-FFF2-40B4-BE49-F238E27FC236}">
                  <a16:creationId xmlns:a16="http://schemas.microsoft.com/office/drawing/2014/main" id="{C7951512-3EC8-4CC8-B281-73FBF968BF0C}"/>
                </a:ext>
              </a:extLst>
            </p:cNvPr>
            <p:cNvSpPr/>
            <p:nvPr/>
          </p:nvSpPr>
          <p:spPr>
            <a:xfrm>
              <a:off x="2393823" y="1974273"/>
              <a:ext cx="312038" cy="469509"/>
            </a:xfrm>
            <a:custGeom>
              <a:avLst/>
              <a:gdLst>
                <a:gd name="connsiteX0" fmla="*/ 0 w 312037"/>
                <a:gd name="connsiteY0" fmla="*/ 261019 h 469509"/>
                <a:gd name="connsiteX1" fmla="*/ 143119 w 312037"/>
                <a:gd name="connsiteY1" fmla="*/ 416748 h 469509"/>
                <a:gd name="connsiteX2" fmla="*/ 143119 w 312037"/>
                <a:gd name="connsiteY2" fmla="*/ 469568 h 469509"/>
                <a:gd name="connsiteX3" fmla="*/ 169151 w 312037"/>
                <a:gd name="connsiteY3" fmla="*/ 469510 h 469509"/>
                <a:gd name="connsiteX4" fmla="*/ 169151 w 312037"/>
                <a:gd name="connsiteY4" fmla="*/ 416748 h 469509"/>
                <a:gd name="connsiteX5" fmla="*/ 312328 w 312037"/>
                <a:gd name="connsiteY5" fmla="*/ 261019 h 469509"/>
                <a:gd name="connsiteX6" fmla="*/ 156193 w 312037"/>
                <a:gd name="connsiteY6" fmla="*/ 104303 h 469509"/>
                <a:gd name="connsiteX7" fmla="*/ 104187 w 312037"/>
                <a:gd name="connsiteY7" fmla="*/ 52006 h 469509"/>
                <a:gd name="connsiteX8" fmla="*/ 156193 w 312037"/>
                <a:gd name="connsiteY8" fmla="*/ 0 h 469509"/>
                <a:gd name="connsiteX9" fmla="*/ 208200 w 312037"/>
                <a:gd name="connsiteY9" fmla="*/ 52006 h 469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2037" h="469509">
                  <a:moveTo>
                    <a:pt x="0" y="261019"/>
                  </a:moveTo>
                  <a:cubicBezTo>
                    <a:pt x="0" y="343009"/>
                    <a:pt x="62989" y="410123"/>
                    <a:pt x="143119" y="416748"/>
                  </a:cubicBezTo>
                  <a:lnTo>
                    <a:pt x="143119" y="469568"/>
                  </a:lnTo>
                  <a:moveTo>
                    <a:pt x="169151" y="469510"/>
                  </a:moveTo>
                  <a:lnTo>
                    <a:pt x="169151" y="416748"/>
                  </a:lnTo>
                  <a:cubicBezTo>
                    <a:pt x="249282" y="410065"/>
                    <a:pt x="312328" y="342951"/>
                    <a:pt x="312328" y="261019"/>
                  </a:cubicBezTo>
                  <a:cubicBezTo>
                    <a:pt x="312328" y="174613"/>
                    <a:pt x="242425" y="104303"/>
                    <a:pt x="156193" y="104303"/>
                  </a:cubicBezTo>
                  <a:cubicBezTo>
                    <a:pt x="127488" y="104303"/>
                    <a:pt x="104187" y="80711"/>
                    <a:pt x="104187" y="52006"/>
                  </a:cubicBezTo>
                  <a:cubicBezTo>
                    <a:pt x="104187" y="23301"/>
                    <a:pt x="127488" y="0"/>
                    <a:pt x="156193" y="0"/>
                  </a:cubicBezTo>
                  <a:cubicBezTo>
                    <a:pt x="184898" y="0"/>
                    <a:pt x="208200" y="23301"/>
                    <a:pt x="208200" y="52006"/>
                  </a:cubicBezTo>
                </a:path>
              </a:pathLst>
            </a:custGeom>
            <a:noFill/>
            <a:ln w="12700" cap="flat">
              <a:solidFill>
                <a:srgbClr val="32B4B4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457178">
                <a:defRPr/>
              </a:pPr>
              <a:endParaRPr lang="en-US" dirty="0">
                <a:solidFill>
                  <a:srgbClr val="646464"/>
                </a:solidFill>
                <a:latin typeface="Arial"/>
              </a:endParaRPr>
            </a:p>
          </p:txBody>
        </p:sp>
      </p:grpSp>
      <p:sp>
        <p:nvSpPr>
          <p:cNvPr id="51" name="Oval 19"/>
          <p:cNvSpPr>
            <a:spLocks noChangeArrowheads="1"/>
          </p:cNvSpPr>
          <p:nvPr/>
        </p:nvSpPr>
        <p:spPr bwMode="auto">
          <a:xfrm>
            <a:off x="9724442" y="1424992"/>
            <a:ext cx="1113519" cy="1113519"/>
          </a:xfrm>
          <a:prstGeom prst="ellipse">
            <a:avLst/>
          </a:prstGeom>
          <a:solidFill>
            <a:srgbClr val="32B4B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 sz="1800" kern="0">
              <a:solidFill>
                <a:srgbClr val="646464"/>
              </a:solidFill>
            </a:endParaRPr>
          </a:p>
        </p:txBody>
      </p:sp>
      <p:sp>
        <p:nvSpPr>
          <p:cNvPr id="55" name="Oval 7"/>
          <p:cNvSpPr>
            <a:spLocks noChangeArrowheads="1"/>
          </p:cNvSpPr>
          <p:nvPr/>
        </p:nvSpPr>
        <p:spPr bwMode="auto">
          <a:xfrm>
            <a:off x="2342238" y="1376589"/>
            <a:ext cx="1113519" cy="1113519"/>
          </a:xfrm>
          <a:prstGeom prst="ellipse">
            <a:avLst/>
          </a:prstGeom>
          <a:solidFill>
            <a:srgbClr val="32B4B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 sz="1800" kern="0">
              <a:solidFill>
                <a:srgbClr val="646464"/>
              </a:solidFill>
            </a:endParaRPr>
          </a:p>
        </p:txBody>
      </p:sp>
      <p:sp>
        <p:nvSpPr>
          <p:cNvPr id="62" name="Oval 13"/>
          <p:cNvSpPr>
            <a:spLocks noChangeArrowheads="1"/>
          </p:cNvSpPr>
          <p:nvPr/>
        </p:nvSpPr>
        <p:spPr bwMode="auto">
          <a:xfrm>
            <a:off x="3022954" y="4393375"/>
            <a:ext cx="1113519" cy="1113519"/>
          </a:xfrm>
          <a:prstGeom prst="ellipse">
            <a:avLst/>
          </a:prstGeom>
          <a:solidFill>
            <a:srgbClr val="32B4B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 sz="1800" kern="0">
              <a:solidFill>
                <a:srgbClr val="646464"/>
              </a:solidFill>
            </a:endParaRPr>
          </a:p>
        </p:txBody>
      </p:sp>
      <p:pic>
        <p:nvPicPr>
          <p:cNvPr id="76" name="Picture 7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13835" y="1690976"/>
            <a:ext cx="810225" cy="2069491"/>
          </a:xfrm>
          <a:prstGeom prst="rect">
            <a:avLst/>
          </a:prstGeom>
        </p:spPr>
      </p:pic>
      <p:sp>
        <p:nvSpPr>
          <p:cNvPr id="78" name="Oval 25"/>
          <p:cNvSpPr>
            <a:spLocks noChangeArrowheads="1"/>
          </p:cNvSpPr>
          <p:nvPr/>
        </p:nvSpPr>
        <p:spPr bwMode="auto">
          <a:xfrm>
            <a:off x="9737208" y="4565188"/>
            <a:ext cx="1113519" cy="1113519"/>
          </a:xfrm>
          <a:prstGeom prst="ellipse">
            <a:avLst/>
          </a:prstGeom>
          <a:solidFill>
            <a:srgbClr val="32B4B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 sz="1800" kern="0">
              <a:solidFill>
                <a:srgbClr val="646464"/>
              </a:solidFill>
            </a:endParaRPr>
          </a:p>
        </p:txBody>
      </p:sp>
      <p:pic>
        <p:nvPicPr>
          <p:cNvPr id="84" name="Picture 8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55487" y="4629779"/>
            <a:ext cx="769071" cy="2151388"/>
          </a:xfrm>
          <a:prstGeom prst="rect">
            <a:avLst/>
          </a:prstGeom>
        </p:spPr>
      </p:pic>
      <p:pic>
        <p:nvPicPr>
          <p:cNvPr id="85" name="Picture 8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24442" y="1443059"/>
            <a:ext cx="1073597" cy="1073597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89051" y="1967060"/>
            <a:ext cx="868631" cy="1654797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645099" y="4629779"/>
            <a:ext cx="1536545" cy="1799375"/>
          </a:xfrm>
          <a:prstGeom prst="rect">
            <a:avLst/>
          </a:prstGeom>
        </p:spPr>
      </p:pic>
      <p:sp>
        <p:nvSpPr>
          <p:cNvPr id="88" name="TextBox 87"/>
          <p:cNvSpPr txBox="1"/>
          <p:nvPr/>
        </p:nvSpPr>
        <p:spPr>
          <a:xfrm>
            <a:off x="3816086" y="1496942"/>
            <a:ext cx="820738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77"/>
            <a:r>
              <a:rPr lang="en-US" sz="3200" b="1" dirty="0" smtClean="0">
                <a:solidFill>
                  <a:srgbClr val="430099"/>
                </a:solidFill>
              </a:rPr>
              <a:t>34%</a:t>
            </a:r>
            <a:endParaRPr lang="en-US" sz="1600" b="1" dirty="0">
              <a:solidFill>
                <a:srgbClr val="430099"/>
              </a:solidFill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3837367" y="1977760"/>
            <a:ext cx="14282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77"/>
            <a:r>
              <a:rPr lang="en-US" sz="1400" dirty="0">
                <a:solidFill>
                  <a:srgbClr val="646464"/>
                </a:solidFill>
              </a:rPr>
              <a:t>50+ years </a:t>
            </a:r>
            <a:r>
              <a:rPr lang="en-US" sz="1400" dirty="0" smtClean="0">
                <a:solidFill>
                  <a:srgbClr val="646464"/>
                </a:solidFill>
              </a:rPr>
              <a:t>old, US</a:t>
            </a:r>
            <a:endParaRPr lang="en-US" sz="1400" dirty="0">
              <a:solidFill>
                <a:srgbClr val="646464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8538686" y="1415391"/>
            <a:ext cx="820738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77"/>
            <a:r>
              <a:rPr lang="en-US" sz="3200" b="1" dirty="0">
                <a:solidFill>
                  <a:srgbClr val="430099"/>
                </a:solidFill>
              </a:rPr>
              <a:t>60%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8581869" y="1896210"/>
            <a:ext cx="101619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7"/>
            <a:r>
              <a:rPr lang="en-US" sz="1400" dirty="0">
                <a:solidFill>
                  <a:srgbClr val="646464"/>
                </a:solidFill>
              </a:rPr>
              <a:t>Mature </a:t>
            </a:r>
            <a:br>
              <a:rPr lang="en-US" sz="1400" dirty="0">
                <a:solidFill>
                  <a:srgbClr val="646464"/>
                </a:solidFill>
              </a:rPr>
            </a:br>
            <a:r>
              <a:rPr lang="en-US" sz="1400" dirty="0" smtClean="0">
                <a:solidFill>
                  <a:srgbClr val="646464"/>
                </a:solidFill>
              </a:rPr>
              <a:t>economies, globally</a:t>
            </a:r>
            <a:endParaRPr lang="en-US" sz="1400" dirty="0">
              <a:solidFill>
                <a:srgbClr val="646464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4566840" y="4783327"/>
            <a:ext cx="820738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77"/>
            <a:r>
              <a:rPr lang="en-US" sz="3200" b="1" dirty="0" smtClean="0">
                <a:solidFill>
                  <a:srgbClr val="430099"/>
                </a:solidFill>
              </a:rPr>
              <a:t>67%</a:t>
            </a:r>
            <a:endParaRPr lang="en-US" sz="3200" b="1" dirty="0">
              <a:solidFill>
                <a:srgbClr val="430099"/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4588121" y="5264145"/>
            <a:ext cx="138339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77"/>
            <a:r>
              <a:rPr lang="en-US" sz="1400" dirty="0">
                <a:solidFill>
                  <a:srgbClr val="646464"/>
                </a:solidFill>
              </a:rPr>
              <a:t>-49 years </a:t>
            </a:r>
            <a:r>
              <a:rPr lang="en-US" sz="1400" dirty="0" smtClean="0">
                <a:solidFill>
                  <a:srgbClr val="646464"/>
                </a:solidFill>
              </a:rPr>
              <a:t>old, US</a:t>
            </a:r>
            <a:endParaRPr lang="en-US" sz="1400" dirty="0">
              <a:solidFill>
                <a:srgbClr val="646464"/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8432178" y="5131585"/>
            <a:ext cx="127266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7"/>
            <a:r>
              <a:rPr lang="en-US" sz="1400" dirty="0">
                <a:solidFill>
                  <a:srgbClr val="646464"/>
                </a:solidFill>
              </a:rPr>
              <a:t>Emerging </a:t>
            </a:r>
            <a:br>
              <a:rPr lang="en-US" sz="1400" dirty="0">
                <a:solidFill>
                  <a:srgbClr val="646464"/>
                </a:solidFill>
              </a:rPr>
            </a:br>
            <a:r>
              <a:rPr lang="en-US" sz="1400" dirty="0" smtClean="0">
                <a:solidFill>
                  <a:srgbClr val="646464"/>
                </a:solidFill>
              </a:rPr>
              <a:t>economies, globally </a:t>
            </a:r>
            <a:endParaRPr lang="en-US" sz="1400" dirty="0">
              <a:solidFill>
                <a:srgbClr val="646464"/>
              </a:solidFill>
            </a:endParaRPr>
          </a:p>
        </p:txBody>
      </p:sp>
      <p:sp>
        <p:nvSpPr>
          <p:cNvPr id="73" name="Oval 65"/>
          <p:cNvSpPr>
            <a:spLocks noChangeArrowheads="1"/>
          </p:cNvSpPr>
          <p:nvPr/>
        </p:nvSpPr>
        <p:spPr bwMode="auto">
          <a:xfrm>
            <a:off x="5665835" y="2229502"/>
            <a:ext cx="2390313" cy="2390314"/>
          </a:xfrm>
          <a:prstGeom prst="ellipse">
            <a:avLst/>
          </a:prstGeom>
          <a:solidFill>
            <a:srgbClr val="4300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 sz="1800" kern="0">
              <a:solidFill>
                <a:srgbClr val="646464"/>
              </a:solidFill>
            </a:endParaRPr>
          </a:p>
        </p:txBody>
      </p:sp>
      <p:sp>
        <p:nvSpPr>
          <p:cNvPr id="74" name="Rectangle 124"/>
          <p:cNvSpPr>
            <a:spLocks noChangeArrowheads="1"/>
          </p:cNvSpPr>
          <p:nvPr/>
        </p:nvSpPr>
        <p:spPr bwMode="auto">
          <a:xfrm>
            <a:off x="6332550" y="2769751"/>
            <a:ext cx="1130118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377"/>
            <a:r>
              <a:rPr lang="en-US" altLang="en-US" sz="4400" b="1" kern="0" dirty="0" smtClean="0">
                <a:solidFill>
                  <a:prstClr val="white"/>
                </a:solidFill>
                <a:latin typeface="+mn-lt"/>
              </a:rPr>
              <a:t>56%</a:t>
            </a:r>
            <a:endParaRPr lang="en-US" altLang="en-US" sz="1800" kern="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6058240" y="3463272"/>
            <a:ext cx="176804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77"/>
            <a:r>
              <a:rPr lang="en-US" sz="1200" kern="0" dirty="0">
                <a:solidFill>
                  <a:prstClr val="white"/>
                </a:solidFill>
              </a:rPr>
              <a:t>of </a:t>
            </a:r>
            <a:r>
              <a:rPr lang="en-US" sz="1200" kern="0" dirty="0" smtClean="0">
                <a:solidFill>
                  <a:prstClr val="white"/>
                </a:solidFill>
              </a:rPr>
              <a:t>US </a:t>
            </a:r>
            <a:r>
              <a:rPr lang="en-US" sz="1200" kern="0" dirty="0">
                <a:solidFill>
                  <a:prstClr val="white"/>
                </a:solidFill>
              </a:rPr>
              <a:t>consumers have a positive attitude towards biometric </a:t>
            </a:r>
            <a:r>
              <a:rPr lang="en-US" sz="1200" kern="0" dirty="0" smtClean="0">
                <a:solidFill>
                  <a:prstClr val="white"/>
                </a:solidFill>
              </a:rPr>
              <a:t>technology</a:t>
            </a:r>
            <a:endParaRPr lang="en-US" sz="1200" kern="0" dirty="0">
              <a:solidFill>
                <a:prstClr val="white"/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8373919" y="4691675"/>
            <a:ext cx="820738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77"/>
            <a:r>
              <a:rPr lang="en-US" sz="3200" b="1" dirty="0">
                <a:solidFill>
                  <a:srgbClr val="430099"/>
                </a:solidFill>
              </a:rPr>
              <a:t>90%</a:t>
            </a:r>
          </a:p>
        </p:txBody>
      </p:sp>
      <p:cxnSp>
        <p:nvCxnSpPr>
          <p:cNvPr id="96" name="Straight Connector 95"/>
          <p:cNvCxnSpPr/>
          <p:nvPr/>
        </p:nvCxnSpPr>
        <p:spPr>
          <a:xfrm flipH="1" flipV="1">
            <a:off x="5625477" y="2193203"/>
            <a:ext cx="432000" cy="396000"/>
          </a:xfrm>
          <a:prstGeom prst="line">
            <a:avLst/>
          </a:prstGeom>
          <a:noFill/>
          <a:ln w="6350" cap="flat" cmpd="sng" algn="ctr">
            <a:solidFill>
              <a:srgbClr val="430099"/>
            </a:solidFill>
            <a:prstDash val="solid"/>
            <a:miter lim="800000"/>
            <a:tailEnd type="oval"/>
          </a:ln>
          <a:effectLst/>
        </p:spPr>
      </p:cxnSp>
      <p:cxnSp>
        <p:nvCxnSpPr>
          <p:cNvPr id="97" name="Straight Connector 96"/>
          <p:cNvCxnSpPr/>
          <p:nvPr/>
        </p:nvCxnSpPr>
        <p:spPr>
          <a:xfrm flipV="1">
            <a:off x="7716929" y="2193203"/>
            <a:ext cx="432000" cy="395166"/>
          </a:xfrm>
          <a:prstGeom prst="line">
            <a:avLst/>
          </a:prstGeom>
          <a:noFill/>
          <a:ln w="6350" cap="flat" cmpd="sng" algn="ctr">
            <a:solidFill>
              <a:srgbClr val="430099"/>
            </a:solidFill>
            <a:prstDash val="solid"/>
            <a:miter lim="800000"/>
            <a:tailEnd type="oval"/>
          </a:ln>
          <a:effectLst/>
        </p:spPr>
      </p:cxnSp>
      <p:cxnSp>
        <p:nvCxnSpPr>
          <p:cNvPr id="98" name="Straight Connector 97"/>
          <p:cNvCxnSpPr/>
          <p:nvPr/>
        </p:nvCxnSpPr>
        <p:spPr>
          <a:xfrm flipH="1">
            <a:off x="5575374" y="4275081"/>
            <a:ext cx="396000" cy="432000"/>
          </a:xfrm>
          <a:prstGeom prst="line">
            <a:avLst/>
          </a:prstGeom>
          <a:noFill/>
          <a:ln w="6350" cap="flat" cmpd="sng" algn="ctr">
            <a:solidFill>
              <a:srgbClr val="430099"/>
            </a:solidFill>
            <a:prstDash val="solid"/>
            <a:miter lim="800000"/>
            <a:tailEnd type="oval"/>
          </a:ln>
          <a:effectLst/>
        </p:spPr>
      </p:cxnSp>
      <p:cxnSp>
        <p:nvCxnSpPr>
          <p:cNvPr id="99" name="Straight Connector 98"/>
          <p:cNvCxnSpPr/>
          <p:nvPr/>
        </p:nvCxnSpPr>
        <p:spPr>
          <a:xfrm>
            <a:off x="7717804" y="4275081"/>
            <a:ext cx="396000" cy="432000"/>
          </a:xfrm>
          <a:prstGeom prst="line">
            <a:avLst/>
          </a:prstGeom>
          <a:noFill/>
          <a:ln w="6350" cap="flat" cmpd="sng" algn="ctr">
            <a:solidFill>
              <a:srgbClr val="430099"/>
            </a:solidFill>
            <a:prstDash val="solid"/>
            <a:miter lim="800000"/>
            <a:tailEnd type="oval"/>
          </a:ln>
          <a:effectLst/>
        </p:spPr>
      </p:cxnSp>
      <p:sp>
        <p:nvSpPr>
          <p:cNvPr id="16" name="TextBox 15"/>
          <p:cNvSpPr txBox="1"/>
          <p:nvPr/>
        </p:nvSpPr>
        <p:spPr>
          <a:xfrm>
            <a:off x="9630289" y="6611779"/>
            <a:ext cx="28417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Source: Research from </a:t>
            </a:r>
            <a:r>
              <a:rPr lang="en-US" sz="1000" dirty="0" err="1" smtClean="0"/>
              <a:t>Dentsu</a:t>
            </a:r>
            <a:r>
              <a:rPr lang="en-US" sz="1000" dirty="0" smtClean="0"/>
              <a:t> Data Labs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7435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7491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5EC9220-83C5-487F-91B4-0883982AE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2426" y="293065"/>
            <a:ext cx="9652379" cy="480000"/>
          </a:xfrm>
        </p:spPr>
        <p:txBody>
          <a:bodyPr vert="horz"/>
          <a:lstStyle/>
          <a:p>
            <a:r>
              <a:rPr lang="en-US" dirty="0"/>
              <a:t>Fingerprint the most widespread form of </a:t>
            </a:r>
            <a:r>
              <a:rPr lang="en-US" dirty="0" smtClean="0"/>
              <a:t>biometrics in the us*</a:t>
            </a:r>
            <a:endParaRPr lang="en-US" dirty="0">
              <a:solidFill>
                <a:srgbClr val="36B7B4"/>
              </a:solidFill>
            </a:endParaRPr>
          </a:p>
        </p:txBody>
      </p:sp>
      <p:grpSp>
        <p:nvGrpSpPr>
          <p:cNvPr id="232" name="Graphique 81">
            <a:extLst>
              <a:ext uri="{FF2B5EF4-FFF2-40B4-BE49-F238E27FC236}">
                <a16:creationId xmlns:a16="http://schemas.microsoft.com/office/drawing/2014/main" id="{8C97B9EB-05C4-4CC3-BDFA-525C7E16DC37}"/>
              </a:ext>
            </a:extLst>
          </p:cNvPr>
          <p:cNvGrpSpPr>
            <a:grpSpLocks noChangeAspect="1"/>
          </p:cNvGrpSpPr>
          <p:nvPr/>
        </p:nvGrpSpPr>
        <p:grpSpPr>
          <a:xfrm>
            <a:off x="392515" y="293065"/>
            <a:ext cx="422187" cy="822998"/>
            <a:chOff x="2389465" y="1817499"/>
            <a:chExt cx="321335" cy="626400"/>
          </a:xfrm>
        </p:grpSpPr>
        <p:sp>
          <p:nvSpPr>
            <p:cNvPr id="233" name="Forme libre : forme 37">
              <a:extLst>
                <a:ext uri="{FF2B5EF4-FFF2-40B4-BE49-F238E27FC236}">
                  <a16:creationId xmlns:a16="http://schemas.microsoft.com/office/drawing/2014/main" id="{2FEDD969-DE27-486A-B326-1F674707A170}"/>
                </a:ext>
              </a:extLst>
            </p:cNvPr>
            <p:cNvSpPr/>
            <p:nvPr/>
          </p:nvSpPr>
          <p:spPr>
            <a:xfrm>
              <a:off x="2563032" y="1817499"/>
              <a:ext cx="142945" cy="208025"/>
            </a:xfrm>
            <a:custGeom>
              <a:avLst/>
              <a:gdLst>
                <a:gd name="connsiteX0" fmla="*/ 143119 w 142944"/>
                <a:gd name="connsiteY0" fmla="*/ 208548 h 208025"/>
                <a:gd name="connsiteX1" fmla="*/ 0 w 142944"/>
                <a:gd name="connsiteY1" fmla="*/ 52820 h 208025"/>
                <a:gd name="connsiteX2" fmla="*/ 0 w 142944"/>
                <a:gd name="connsiteY2" fmla="*/ 0 h 2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944" h="208025">
                  <a:moveTo>
                    <a:pt x="143119" y="208548"/>
                  </a:moveTo>
                  <a:cubicBezTo>
                    <a:pt x="143119" y="126558"/>
                    <a:pt x="80130" y="59444"/>
                    <a:pt x="0" y="52820"/>
                  </a:cubicBez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32B4B4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457178">
                <a:defRPr/>
              </a:pPr>
              <a:endParaRPr lang="en-US" dirty="0">
                <a:solidFill>
                  <a:srgbClr val="646464"/>
                </a:solidFill>
                <a:latin typeface="Arial"/>
              </a:endParaRPr>
            </a:p>
          </p:txBody>
        </p:sp>
        <p:sp>
          <p:nvSpPr>
            <p:cNvPr id="234" name="Forme libre : forme 38">
              <a:extLst>
                <a:ext uri="{FF2B5EF4-FFF2-40B4-BE49-F238E27FC236}">
                  <a16:creationId xmlns:a16="http://schemas.microsoft.com/office/drawing/2014/main" id="{0128AD13-C4DB-480E-AC9A-0ECD1664B5C0}"/>
                </a:ext>
              </a:extLst>
            </p:cNvPr>
            <p:cNvSpPr/>
            <p:nvPr/>
          </p:nvSpPr>
          <p:spPr>
            <a:xfrm>
              <a:off x="2393823" y="1817499"/>
              <a:ext cx="259741" cy="521225"/>
            </a:xfrm>
            <a:custGeom>
              <a:avLst/>
              <a:gdLst>
                <a:gd name="connsiteX0" fmla="*/ 143119 w 259740"/>
                <a:gd name="connsiteY0" fmla="*/ 0 h 521225"/>
                <a:gd name="connsiteX1" fmla="*/ 143119 w 259740"/>
                <a:gd name="connsiteY1" fmla="*/ 52820 h 521225"/>
                <a:gd name="connsiteX2" fmla="*/ 0 w 259740"/>
                <a:gd name="connsiteY2" fmla="*/ 208548 h 521225"/>
                <a:gd name="connsiteX3" fmla="*/ 156135 w 259740"/>
                <a:gd name="connsiteY3" fmla="*/ 365264 h 521225"/>
                <a:gd name="connsiteX4" fmla="*/ 208141 w 259740"/>
                <a:gd name="connsiteY4" fmla="*/ 417561 h 521225"/>
                <a:gd name="connsiteX5" fmla="*/ 156135 w 259740"/>
                <a:gd name="connsiteY5" fmla="*/ 469568 h 521225"/>
                <a:gd name="connsiteX6" fmla="*/ 104129 w 259740"/>
                <a:gd name="connsiteY6" fmla="*/ 417561 h 521225"/>
                <a:gd name="connsiteX7" fmla="*/ 52181 w 259740"/>
                <a:gd name="connsiteY7" fmla="*/ 417503 h 521225"/>
                <a:gd name="connsiteX8" fmla="*/ 156135 w 259740"/>
                <a:gd name="connsiteY8" fmla="*/ 521458 h 521225"/>
                <a:gd name="connsiteX9" fmla="*/ 260090 w 259740"/>
                <a:gd name="connsiteY9" fmla="*/ 417503 h 521225"/>
                <a:gd name="connsiteX10" fmla="*/ 156135 w 259740"/>
                <a:gd name="connsiteY10" fmla="*/ 313142 h 521225"/>
                <a:gd name="connsiteX11" fmla="*/ 52181 w 259740"/>
                <a:gd name="connsiteY11" fmla="*/ 208781 h 521225"/>
                <a:gd name="connsiteX12" fmla="*/ 156135 w 259740"/>
                <a:gd name="connsiteY12" fmla="*/ 104826 h 521225"/>
                <a:gd name="connsiteX13" fmla="*/ 260090 w 259740"/>
                <a:gd name="connsiteY13" fmla="*/ 208781 h 52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9740" h="521225">
                  <a:moveTo>
                    <a:pt x="143119" y="0"/>
                  </a:moveTo>
                  <a:lnTo>
                    <a:pt x="143119" y="52820"/>
                  </a:lnTo>
                  <a:cubicBezTo>
                    <a:pt x="62989" y="59444"/>
                    <a:pt x="0" y="126558"/>
                    <a:pt x="0" y="208548"/>
                  </a:cubicBezTo>
                  <a:cubicBezTo>
                    <a:pt x="0" y="294896"/>
                    <a:pt x="69903" y="365264"/>
                    <a:pt x="156135" y="365264"/>
                  </a:cubicBezTo>
                  <a:cubicBezTo>
                    <a:pt x="184840" y="365264"/>
                    <a:pt x="208141" y="388856"/>
                    <a:pt x="208141" y="417561"/>
                  </a:cubicBezTo>
                  <a:cubicBezTo>
                    <a:pt x="208141" y="446266"/>
                    <a:pt x="184840" y="469568"/>
                    <a:pt x="156135" y="469568"/>
                  </a:cubicBezTo>
                  <a:cubicBezTo>
                    <a:pt x="127430" y="469568"/>
                    <a:pt x="104129" y="446325"/>
                    <a:pt x="104129" y="417561"/>
                  </a:cubicBezTo>
                  <a:moveTo>
                    <a:pt x="52181" y="417503"/>
                  </a:moveTo>
                  <a:cubicBezTo>
                    <a:pt x="52181" y="474913"/>
                    <a:pt x="98725" y="521458"/>
                    <a:pt x="156135" y="521458"/>
                  </a:cubicBezTo>
                  <a:cubicBezTo>
                    <a:pt x="213545" y="521458"/>
                    <a:pt x="260090" y="474913"/>
                    <a:pt x="260090" y="417503"/>
                  </a:cubicBezTo>
                  <a:cubicBezTo>
                    <a:pt x="260090" y="360093"/>
                    <a:pt x="213545" y="313142"/>
                    <a:pt x="156135" y="313142"/>
                  </a:cubicBezTo>
                  <a:cubicBezTo>
                    <a:pt x="98725" y="313142"/>
                    <a:pt x="52181" y="266191"/>
                    <a:pt x="52181" y="208781"/>
                  </a:cubicBezTo>
                  <a:cubicBezTo>
                    <a:pt x="52181" y="151370"/>
                    <a:pt x="98725" y="104826"/>
                    <a:pt x="156135" y="104826"/>
                  </a:cubicBezTo>
                  <a:cubicBezTo>
                    <a:pt x="213545" y="104826"/>
                    <a:pt x="260090" y="151370"/>
                    <a:pt x="260090" y="208781"/>
                  </a:cubicBezTo>
                </a:path>
              </a:pathLst>
            </a:custGeom>
            <a:noFill/>
            <a:ln w="12700" cap="flat">
              <a:solidFill>
                <a:srgbClr val="32B4B4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457178">
                <a:defRPr/>
              </a:pPr>
              <a:endParaRPr lang="en-US" dirty="0">
                <a:solidFill>
                  <a:srgbClr val="646464"/>
                </a:solidFill>
                <a:latin typeface="Arial"/>
              </a:endParaRPr>
            </a:p>
          </p:txBody>
        </p:sp>
        <p:sp>
          <p:nvSpPr>
            <p:cNvPr id="235" name="Forme libre : forme 39">
              <a:extLst>
                <a:ext uri="{FF2B5EF4-FFF2-40B4-BE49-F238E27FC236}">
                  <a16:creationId xmlns:a16="http://schemas.microsoft.com/office/drawing/2014/main" id="{C7951512-3EC8-4CC8-B281-73FBF968BF0C}"/>
                </a:ext>
              </a:extLst>
            </p:cNvPr>
            <p:cNvSpPr/>
            <p:nvPr/>
          </p:nvSpPr>
          <p:spPr>
            <a:xfrm>
              <a:off x="2393823" y="1974273"/>
              <a:ext cx="312038" cy="469509"/>
            </a:xfrm>
            <a:custGeom>
              <a:avLst/>
              <a:gdLst>
                <a:gd name="connsiteX0" fmla="*/ 0 w 312037"/>
                <a:gd name="connsiteY0" fmla="*/ 261019 h 469509"/>
                <a:gd name="connsiteX1" fmla="*/ 143119 w 312037"/>
                <a:gd name="connsiteY1" fmla="*/ 416748 h 469509"/>
                <a:gd name="connsiteX2" fmla="*/ 143119 w 312037"/>
                <a:gd name="connsiteY2" fmla="*/ 469568 h 469509"/>
                <a:gd name="connsiteX3" fmla="*/ 169151 w 312037"/>
                <a:gd name="connsiteY3" fmla="*/ 469510 h 469509"/>
                <a:gd name="connsiteX4" fmla="*/ 169151 w 312037"/>
                <a:gd name="connsiteY4" fmla="*/ 416748 h 469509"/>
                <a:gd name="connsiteX5" fmla="*/ 312328 w 312037"/>
                <a:gd name="connsiteY5" fmla="*/ 261019 h 469509"/>
                <a:gd name="connsiteX6" fmla="*/ 156193 w 312037"/>
                <a:gd name="connsiteY6" fmla="*/ 104303 h 469509"/>
                <a:gd name="connsiteX7" fmla="*/ 104187 w 312037"/>
                <a:gd name="connsiteY7" fmla="*/ 52006 h 469509"/>
                <a:gd name="connsiteX8" fmla="*/ 156193 w 312037"/>
                <a:gd name="connsiteY8" fmla="*/ 0 h 469509"/>
                <a:gd name="connsiteX9" fmla="*/ 208200 w 312037"/>
                <a:gd name="connsiteY9" fmla="*/ 52006 h 469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2037" h="469509">
                  <a:moveTo>
                    <a:pt x="0" y="261019"/>
                  </a:moveTo>
                  <a:cubicBezTo>
                    <a:pt x="0" y="343009"/>
                    <a:pt x="62989" y="410123"/>
                    <a:pt x="143119" y="416748"/>
                  </a:cubicBezTo>
                  <a:lnTo>
                    <a:pt x="143119" y="469568"/>
                  </a:lnTo>
                  <a:moveTo>
                    <a:pt x="169151" y="469510"/>
                  </a:moveTo>
                  <a:lnTo>
                    <a:pt x="169151" y="416748"/>
                  </a:lnTo>
                  <a:cubicBezTo>
                    <a:pt x="249282" y="410065"/>
                    <a:pt x="312328" y="342951"/>
                    <a:pt x="312328" y="261019"/>
                  </a:cubicBezTo>
                  <a:cubicBezTo>
                    <a:pt x="312328" y="174613"/>
                    <a:pt x="242425" y="104303"/>
                    <a:pt x="156193" y="104303"/>
                  </a:cubicBezTo>
                  <a:cubicBezTo>
                    <a:pt x="127488" y="104303"/>
                    <a:pt x="104187" y="80711"/>
                    <a:pt x="104187" y="52006"/>
                  </a:cubicBezTo>
                  <a:cubicBezTo>
                    <a:pt x="104187" y="23301"/>
                    <a:pt x="127488" y="0"/>
                    <a:pt x="156193" y="0"/>
                  </a:cubicBezTo>
                  <a:cubicBezTo>
                    <a:pt x="184898" y="0"/>
                    <a:pt x="208200" y="23301"/>
                    <a:pt x="208200" y="52006"/>
                  </a:cubicBezTo>
                </a:path>
              </a:pathLst>
            </a:custGeom>
            <a:noFill/>
            <a:ln w="12700" cap="flat">
              <a:solidFill>
                <a:srgbClr val="32B4B4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457178">
                <a:defRPr/>
              </a:pPr>
              <a:endParaRPr lang="en-US" dirty="0">
                <a:solidFill>
                  <a:srgbClr val="646464"/>
                </a:solidFill>
                <a:latin typeface="Arial"/>
              </a:endParaRPr>
            </a:p>
          </p:txBody>
        </p:sp>
      </p:grpSp>
      <p:sp>
        <p:nvSpPr>
          <p:cNvPr id="59" name="Oval 20"/>
          <p:cNvSpPr>
            <a:spLocks noChangeArrowheads="1"/>
          </p:cNvSpPr>
          <p:nvPr/>
        </p:nvSpPr>
        <p:spPr bwMode="auto">
          <a:xfrm>
            <a:off x="5559180" y="2168838"/>
            <a:ext cx="2390477" cy="2391365"/>
          </a:xfrm>
          <a:prstGeom prst="ellipse">
            <a:avLst/>
          </a:prstGeom>
          <a:solidFill>
            <a:srgbClr val="4300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 sz="1800" kern="0">
              <a:solidFill>
                <a:srgbClr val="646464"/>
              </a:solidFill>
            </a:endParaRPr>
          </a:p>
        </p:txBody>
      </p:sp>
      <p:sp>
        <p:nvSpPr>
          <p:cNvPr id="60" name="Rectangle 124"/>
          <p:cNvSpPr>
            <a:spLocks noChangeArrowheads="1"/>
          </p:cNvSpPr>
          <p:nvPr/>
        </p:nvSpPr>
        <p:spPr bwMode="auto">
          <a:xfrm>
            <a:off x="6185120" y="2639416"/>
            <a:ext cx="1130118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377"/>
            <a:r>
              <a:rPr lang="en-US" altLang="en-US" sz="4400" b="1" kern="0" dirty="0" smtClean="0">
                <a:solidFill>
                  <a:prstClr val="white"/>
                </a:solidFill>
                <a:latin typeface="+mn-lt"/>
              </a:rPr>
              <a:t>70%</a:t>
            </a:r>
            <a:endParaRPr lang="en-US" altLang="en-US" sz="1800" kern="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5910811" y="3332937"/>
            <a:ext cx="176804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77"/>
            <a:r>
              <a:rPr lang="en-US" sz="1200" dirty="0" smtClean="0">
                <a:solidFill>
                  <a:prstClr val="white"/>
                </a:solidFill>
              </a:rPr>
              <a:t>of US consumers </a:t>
            </a:r>
            <a:r>
              <a:rPr lang="en-US" sz="1200" dirty="0">
                <a:solidFill>
                  <a:prstClr val="white"/>
                </a:solidFill>
              </a:rPr>
              <a:t>have used biometric authentication methods</a:t>
            </a:r>
          </a:p>
        </p:txBody>
      </p:sp>
      <p:pic>
        <p:nvPicPr>
          <p:cNvPr id="72" name="Picture 71"/>
          <p:cNvPicPr>
            <a:picLocks noChangeAspect="1"/>
          </p:cNvPicPr>
          <p:nvPr/>
        </p:nvPicPr>
        <p:blipFill rotWithShape="1">
          <a:blip r:embed="rId6"/>
          <a:srcRect l="17166" t="15885" r="12452" b="13015"/>
          <a:stretch/>
        </p:blipFill>
        <p:spPr>
          <a:xfrm>
            <a:off x="1747034" y="1504474"/>
            <a:ext cx="996357" cy="1006524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 rotWithShape="1">
          <a:blip r:embed="rId7"/>
          <a:srcRect l="11086" t="11485" r="15933" b="5938"/>
          <a:stretch/>
        </p:blipFill>
        <p:spPr>
          <a:xfrm>
            <a:off x="10565196" y="1504473"/>
            <a:ext cx="970979" cy="1091651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 rotWithShape="1">
          <a:blip r:embed="rId8"/>
          <a:srcRect l="14232" t="17964" r="10988" b="10069"/>
          <a:stretch/>
        </p:blipFill>
        <p:spPr>
          <a:xfrm>
            <a:off x="1843281" y="4774704"/>
            <a:ext cx="1023432" cy="984957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 rotWithShape="1">
          <a:blip r:embed="rId9"/>
          <a:srcRect l="7587" t="25025" r="7299" b="25186"/>
          <a:stretch/>
        </p:blipFill>
        <p:spPr>
          <a:xfrm>
            <a:off x="10363193" y="4980208"/>
            <a:ext cx="1271243" cy="738909"/>
          </a:xfrm>
          <a:prstGeom prst="rect">
            <a:avLst/>
          </a:prstGeom>
        </p:spPr>
      </p:pic>
      <p:sp>
        <p:nvSpPr>
          <p:cNvPr id="76" name="TextBox 75"/>
          <p:cNvSpPr txBox="1"/>
          <p:nvPr/>
        </p:nvSpPr>
        <p:spPr>
          <a:xfrm>
            <a:off x="3275178" y="1381218"/>
            <a:ext cx="820738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77"/>
            <a:r>
              <a:rPr lang="en-US" sz="3200" b="1" dirty="0" smtClean="0">
                <a:solidFill>
                  <a:srgbClr val="430099"/>
                </a:solidFill>
              </a:rPr>
              <a:t>55%</a:t>
            </a:r>
            <a:endParaRPr lang="en-US" sz="3200" b="1" dirty="0">
              <a:solidFill>
                <a:srgbClr val="430099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3296458" y="1862037"/>
            <a:ext cx="1720023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77"/>
            <a:r>
              <a:rPr lang="en-US" sz="1400" dirty="0">
                <a:solidFill>
                  <a:srgbClr val="646464"/>
                </a:solidFill>
              </a:rPr>
              <a:t>have used fingerprint </a:t>
            </a:r>
          </a:p>
          <a:p>
            <a:pPr defTabSz="914377"/>
            <a:r>
              <a:rPr lang="en-US" sz="1400" dirty="0">
                <a:solidFill>
                  <a:srgbClr val="646464"/>
                </a:solidFill>
              </a:rPr>
              <a:t>biometrics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9242010" y="1480695"/>
            <a:ext cx="820738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77"/>
            <a:r>
              <a:rPr lang="en-US" sz="3200" b="1" dirty="0" smtClean="0">
                <a:solidFill>
                  <a:srgbClr val="430099"/>
                </a:solidFill>
              </a:rPr>
              <a:t>38%</a:t>
            </a:r>
            <a:endParaRPr lang="en-US" sz="3200" b="1" dirty="0">
              <a:solidFill>
                <a:srgbClr val="430099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8807345" y="1961514"/>
            <a:ext cx="1293623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914377"/>
            <a:r>
              <a:rPr lang="en-US" sz="1400" dirty="0">
                <a:solidFill>
                  <a:srgbClr val="646464"/>
                </a:solidFill>
              </a:rPr>
              <a:t>have used facial</a:t>
            </a:r>
          </a:p>
          <a:p>
            <a:pPr algn="r" defTabSz="914377"/>
            <a:r>
              <a:rPr lang="en-US" sz="1400" dirty="0">
                <a:solidFill>
                  <a:srgbClr val="646464"/>
                </a:solidFill>
              </a:rPr>
              <a:t>biometrics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3351479" y="4975255"/>
            <a:ext cx="820738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77"/>
            <a:r>
              <a:rPr lang="en-US" sz="3200" b="1" dirty="0" smtClean="0">
                <a:solidFill>
                  <a:srgbClr val="430099"/>
                </a:solidFill>
              </a:rPr>
              <a:t>28%</a:t>
            </a:r>
            <a:endParaRPr lang="en-US" sz="3200" b="1" dirty="0">
              <a:solidFill>
                <a:srgbClr val="430099"/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3372759" y="5456074"/>
            <a:ext cx="129362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77"/>
            <a:r>
              <a:rPr lang="en-US" sz="1400" dirty="0">
                <a:solidFill>
                  <a:srgbClr val="646464"/>
                </a:solidFill>
              </a:rPr>
              <a:t>have used voice</a:t>
            </a:r>
          </a:p>
          <a:p>
            <a:pPr defTabSz="914377"/>
            <a:r>
              <a:rPr lang="en-US" sz="1400" dirty="0">
                <a:solidFill>
                  <a:srgbClr val="646464"/>
                </a:solidFill>
              </a:rPr>
              <a:t>biometrics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9184955" y="5046995"/>
            <a:ext cx="820738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77"/>
            <a:r>
              <a:rPr lang="en-US" sz="3200" b="1" dirty="0" smtClean="0">
                <a:solidFill>
                  <a:srgbClr val="430099"/>
                </a:solidFill>
              </a:rPr>
              <a:t>13%</a:t>
            </a:r>
            <a:endParaRPr lang="en-US" sz="3200" b="1" dirty="0">
              <a:solidFill>
                <a:srgbClr val="430099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8827505" y="5559161"/>
            <a:ext cx="110447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914377"/>
            <a:r>
              <a:rPr lang="en-US" sz="1400" dirty="0">
                <a:solidFill>
                  <a:srgbClr val="646464"/>
                </a:solidFill>
              </a:rPr>
              <a:t>have used iris</a:t>
            </a:r>
          </a:p>
          <a:p>
            <a:pPr algn="r" defTabSz="914377"/>
            <a:r>
              <a:rPr lang="en-US" sz="1400" dirty="0">
                <a:solidFill>
                  <a:srgbClr val="646464"/>
                </a:solidFill>
              </a:rPr>
              <a:t>biometrics</a:t>
            </a:r>
          </a:p>
        </p:txBody>
      </p:sp>
      <p:pic>
        <p:nvPicPr>
          <p:cNvPr id="84" name="Picture 8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flipH="1">
            <a:off x="5592623" y="4724159"/>
            <a:ext cx="699928" cy="1797940"/>
          </a:xfrm>
          <a:prstGeom prst="rect">
            <a:avLst/>
          </a:prstGeom>
        </p:spPr>
      </p:pic>
      <p:pic>
        <p:nvPicPr>
          <p:cNvPr id="85" name="Picture 8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flipH="1">
            <a:off x="7261508" y="4776152"/>
            <a:ext cx="579123" cy="1745947"/>
          </a:xfrm>
          <a:prstGeom prst="rect">
            <a:avLst/>
          </a:prstGeom>
        </p:spPr>
      </p:pic>
      <p:cxnSp>
        <p:nvCxnSpPr>
          <p:cNvPr id="87" name="Straight Connector 86"/>
          <p:cNvCxnSpPr/>
          <p:nvPr/>
        </p:nvCxnSpPr>
        <p:spPr>
          <a:xfrm flipH="1" flipV="1">
            <a:off x="4817101" y="2382843"/>
            <a:ext cx="678551" cy="271196"/>
          </a:xfrm>
          <a:prstGeom prst="line">
            <a:avLst/>
          </a:prstGeom>
          <a:noFill/>
          <a:ln w="6350" cap="flat" cmpd="sng" algn="ctr">
            <a:solidFill>
              <a:srgbClr val="430099"/>
            </a:solidFill>
            <a:prstDash val="solid"/>
            <a:miter lim="800000"/>
            <a:tailEnd type="oval"/>
          </a:ln>
          <a:effectLst/>
        </p:spPr>
      </p:cxnSp>
      <p:cxnSp>
        <p:nvCxnSpPr>
          <p:cNvPr id="88" name="Straight Connector 87"/>
          <p:cNvCxnSpPr/>
          <p:nvPr/>
        </p:nvCxnSpPr>
        <p:spPr>
          <a:xfrm flipV="1">
            <a:off x="8087209" y="2406995"/>
            <a:ext cx="578119" cy="275627"/>
          </a:xfrm>
          <a:prstGeom prst="line">
            <a:avLst/>
          </a:prstGeom>
          <a:noFill/>
          <a:ln w="6350" cap="flat" cmpd="sng" algn="ctr">
            <a:solidFill>
              <a:srgbClr val="430099"/>
            </a:solidFill>
            <a:prstDash val="solid"/>
            <a:miter lim="800000"/>
            <a:tailEnd type="oval"/>
          </a:ln>
          <a:effectLst/>
        </p:spPr>
      </p:cxnSp>
      <p:cxnSp>
        <p:nvCxnSpPr>
          <p:cNvPr id="89" name="Straight Connector 88"/>
          <p:cNvCxnSpPr/>
          <p:nvPr/>
        </p:nvCxnSpPr>
        <p:spPr>
          <a:xfrm flipH="1">
            <a:off x="4842328" y="4290765"/>
            <a:ext cx="709992" cy="394065"/>
          </a:xfrm>
          <a:prstGeom prst="line">
            <a:avLst/>
          </a:prstGeom>
          <a:noFill/>
          <a:ln w="6350" cap="flat" cmpd="sng" algn="ctr">
            <a:solidFill>
              <a:srgbClr val="430099"/>
            </a:solidFill>
            <a:prstDash val="solid"/>
            <a:miter lim="800000"/>
            <a:tailEnd type="oval"/>
          </a:ln>
          <a:effectLst/>
        </p:spPr>
      </p:cxnSp>
      <p:cxnSp>
        <p:nvCxnSpPr>
          <p:cNvPr id="90" name="Straight Connector 89"/>
          <p:cNvCxnSpPr/>
          <p:nvPr/>
        </p:nvCxnSpPr>
        <p:spPr>
          <a:xfrm>
            <a:off x="7956515" y="4282320"/>
            <a:ext cx="517219" cy="445981"/>
          </a:xfrm>
          <a:prstGeom prst="line">
            <a:avLst/>
          </a:prstGeom>
          <a:noFill/>
          <a:ln w="6350" cap="flat" cmpd="sng" algn="ctr">
            <a:solidFill>
              <a:srgbClr val="430099"/>
            </a:solidFill>
            <a:prstDash val="solid"/>
            <a:miter lim="800000"/>
            <a:tailEnd type="oval"/>
          </a:ln>
          <a:effectLst/>
        </p:spPr>
      </p:cxnSp>
      <p:sp>
        <p:nvSpPr>
          <p:cNvPr id="94" name="TextBox 93"/>
          <p:cNvSpPr txBox="1"/>
          <p:nvPr/>
        </p:nvSpPr>
        <p:spPr>
          <a:xfrm>
            <a:off x="9630289" y="6611779"/>
            <a:ext cx="28417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Source: Research from </a:t>
            </a:r>
            <a:r>
              <a:rPr lang="en-US" sz="1000" dirty="0" err="1" smtClean="0"/>
              <a:t>Dentsu</a:t>
            </a:r>
            <a:r>
              <a:rPr lang="en-US" sz="1000" dirty="0" smtClean="0"/>
              <a:t> Data Labs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853467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405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5EC9220-83C5-487F-91B4-0883982AE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2427" y="293065"/>
            <a:ext cx="10190998" cy="480000"/>
          </a:xfrm>
        </p:spPr>
        <p:txBody>
          <a:bodyPr vert="horz"/>
          <a:lstStyle/>
          <a:p>
            <a:r>
              <a:rPr lang="en-US" dirty="0" smtClean="0"/>
              <a:t>SMARTPHONE USAGE PAVING THE WAY FOR BIOMETRICS WITHIN us PAYMENTS*</a:t>
            </a:r>
            <a:endParaRPr lang="en-US" dirty="0">
              <a:solidFill>
                <a:srgbClr val="36B7B4"/>
              </a:solidFill>
            </a:endParaRPr>
          </a:p>
        </p:txBody>
      </p:sp>
      <p:grpSp>
        <p:nvGrpSpPr>
          <p:cNvPr id="232" name="Graphique 81">
            <a:extLst>
              <a:ext uri="{FF2B5EF4-FFF2-40B4-BE49-F238E27FC236}">
                <a16:creationId xmlns:a16="http://schemas.microsoft.com/office/drawing/2014/main" id="{8C97B9EB-05C4-4CC3-BDFA-525C7E16DC37}"/>
              </a:ext>
            </a:extLst>
          </p:cNvPr>
          <p:cNvGrpSpPr>
            <a:grpSpLocks noChangeAspect="1"/>
          </p:cNvGrpSpPr>
          <p:nvPr/>
        </p:nvGrpSpPr>
        <p:grpSpPr>
          <a:xfrm>
            <a:off x="392515" y="293065"/>
            <a:ext cx="422187" cy="822998"/>
            <a:chOff x="2389465" y="1817499"/>
            <a:chExt cx="321335" cy="626400"/>
          </a:xfrm>
        </p:grpSpPr>
        <p:sp>
          <p:nvSpPr>
            <p:cNvPr id="233" name="Forme libre : forme 37">
              <a:extLst>
                <a:ext uri="{FF2B5EF4-FFF2-40B4-BE49-F238E27FC236}">
                  <a16:creationId xmlns:a16="http://schemas.microsoft.com/office/drawing/2014/main" id="{2FEDD969-DE27-486A-B326-1F674707A170}"/>
                </a:ext>
              </a:extLst>
            </p:cNvPr>
            <p:cNvSpPr/>
            <p:nvPr/>
          </p:nvSpPr>
          <p:spPr>
            <a:xfrm>
              <a:off x="2563032" y="1817499"/>
              <a:ext cx="142945" cy="208025"/>
            </a:xfrm>
            <a:custGeom>
              <a:avLst/>
              <a:gdLst>
                <a:gd name="connsiteX0" fmla="*/ 143119 w 142944"/>
                <a:gd name="connsiteY0" fmla="*/ 208548 h 208025"/>
                <a:gd name="connsiteX1" fmla="*/ 0 w 142944"/>
                <a:gd name="connsiteY1" fmla="*/ 52820 h 208025"/>
                <a:gd name="connsiteX2" fmla="*/ 0 w 142944"/>
                <a:gd name="connsiteY2" fmla="*/ 0 h 2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944" h="208025">
                  <a:moveTo>
                    <a:pt x="143119" y="208548"/>
                  </a:moveTo>
                  <a:cubicBezTo>
                    <a:pt x="143119" y="126558"/>
                    <a:pt x="80130" y="59444"/>
                    <a:pt x="0" y="52820"/>
                  </a:cubicBez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32B4B4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457178">
                <a:defRPr/>
              </a:pPr>
              <a:endParaRPr lang="en-US" dirty="0">
                <a:solidFill>
                  <a:srgbClr val="646464"/>
                </a:solidFill>
                <a:latin typeface="Arial"/>
              </a:endParaRPr>
            </a:p>
          </p:txBody>
        </p:sp>
        <p:sp>
          <p:nvSpPr>
            <p:cNvPr id="234" name="Forme libre : forme 38">
              <a:extLst>
                <a:ext uri="{FF2B5EF4-FFF2-40B4-BE49-F238E27FC236}">
                  <a16:creationId xmlns:a16="http://schemas.microsoft.com/office/drawing/2014/main" id="{0128AD13-C4DB-480E-AC9A-0ECD1664B5C0}"/>
                </a:ext>
              </a:extLst>
            </p:cNvPr>
            <p:cNvSpPr/>
            <p:nvPr/>
          </p:nvSpPr>
          <p:spPr>
            <a:xfrm>
              <a:off x="2393823" y="1817499"/>
              <a:ext cx="259741" cy="521225"/>
            </a:xfrm>
            <a:custGeom>
              <a:avLst/>
              <a:gdLst>
                <a:gd name="connsiteX0" fmla="*/ 143119 w 259740"/>
                <a:gd name="connsiteY0" fmla="*/ 0 h 521225"/>
                <a:gd name="connsiteX1" fmla="*/ 143119 w 259740"/>
                <a:gd name="connsiteY1" fmla="*/ 52820 h 521225"/>
                <a:gd name="connsiteX2" fmla="*/ 0 w 259740"/>
                <a:gd name="connsiteY2" fmla="*/ 208548 h 521225"/>
                <a:gd name="connsiteX3" fmla="*/ 156135 w 259740"/>
                <a:gd name="connsiteY3" fmla="*/ 365264 h 521225"/>
                <a:gd name="connsiteX4" fmla="*/ 208141 w 259740"/>
                <a:gd name="connsiteY4" fmla="*/ 417561 h 521225"/>
                <a:gd name="connsiteX5" fmla="*/ 156135 w 259740"/>
                <a:gd name="connsiteY5" fmla="*/ 469568 h 521225"/>
                <a:gd name="connsiteX6" fmla="*/ 104129 w 259740"/>
                <a:gd name="connsiteY6" fmla="*/ 417561 h 521225"/>
                <a:gd name="connsiteX7" fmla="*/ 52181 w 259740"/>
                <a:gd name="connsiteY7" fmla="*/ 417503 h 521225"/>
                <a:gd name="connsiteX8" fmla="*/ 156135 w 259740"/>
                <a:gd name="connsiteY8" fmla="*/ 521458 h 521225"/>
                <a:gd name="connsiteX9" fmla="*/ 260090 w 259740"/>
                <a:gd name="connsiteY9" fmla="*/ 417503 h 521225"/>
                <a:gd name="connsiteX10" fmla="*/ 156135 w 259740"/>
                <a:gd name="connsiteY10" fmla="*/ 313142 h 521225"/>
                <a:gd name="connsiteX11" fmla="*/ 52181 w 259740"/>
                <a:gd name="connsiteY11" fmla="*/ 208781 h 521225"/>
                <a:gd name="connsiteX12" fmla="*/ 156135 w 259740"/>
                <a:gd name="connsiteY12" fmla="*/ 104826 h 521225"/>
                <a:gd name="connsiteX13" fmla="*/ 260090 w 259740"/>
                <a:gd name="connsiteY13" fmla="*/ 208781 h 52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9740" h="521225">
                  <a:moveTo>
                    <a:pt x="143119" y="0"/>
                  </a:moveTo>
                  <a:lnTo>
                    <a:pt x="143119" y="52820"/>
                  </a:lnTo>
                  <a:cubicBezTo>
                    <a:pt x="62989" y="59444"/>
                    <a:pt x="0" y="126558"/>
                    <a:pt x="0" y="208548"/>
                  </a:cubicBezTo>
                  <a:cubicBezTo>
                    <a:pt x="0" y="294896"/>
                    <a:pt x="69903" y="365264"/>
                    <a:pt x="156135" y="365264"/>
                  </a:cubicBezTo>
                  <a:cubicBezTo>
                    <a:pt x="184840" y="365264"/>
                    <a:pt x="208141" y="388856"/>
                    <a:pt x="208141" y="417561"/>
                  </a:cubicBezTo>
                  <a:cubicBezTo>
                    <a:pt x="208141" y="446266"/>
                    <a:pt x="184840" y="469568"/>
                    <a:pt x="156135" y="469568"/>
                  </a:cubicBezTo>
                  <a:cubicBezTo>
                    <a:pt x="127430" y="469568"/>
                    <a:pt x="104129" y="446325"/>
                    <a:pt x="104129" y="417561"/>
                  </a:cubicBezTo>
                  <a:moveTo>
                    <a:pt x="52181" y="417503"/>
                  </a:moveTo>
                  <a:cubicBezTo>
                    <a:pt x="52181" y="474913"/>
                    <a:pt x="98725" y="521458"/>
                    <a:pt x="156135" y="521458"/>
                  </a:cubicBezTo>
                  <a:cubicBezTo>
                    <a:pt x="213545" y="521458"/>
                    <a:pt x="260090" y="474913"/>
                    <a:pt x="260090" y="417503"/>
                  </a:cubicBezTo>
                  <a:cubicBezTo>
                    <a:pt x="260090" y="360093"/>
                    <a:pt x="213545" y="313142"/>
                    <a:pt x="156135" y="313142"/>
                  </a:cubicBezTo>
                  <a:cubicBezTo>
                    <a:pt x="98725" y="313142"/>
                    <a:pt x="52181" y="266191"/>
                    <a:pt x="52181" y="208781"/>
                  </a:cubicBezTo>
                  <a:cubicBezTo>
                    <a:pt x="52181" y="151370"/>
                    <a:pt x="98725" y="104826"/>
                    <a:pt x="156135" y="104826"/>
                  </a:cubicBezTo>
                  <a:cubicBezTo>
                    <a:pt x="213545" y="104826"/>
                    <a:pt x="260090" y="151370"/>
                    <a:pt x="260090" y="208781"/>
                  </a:cubicBezTo>
                </a:path>
              </a:pathLst>
            </a:custGeom>
            <a:noFill/>
            <a:ln w="12700" cap="flat">
              <a:solidFill>
                <a:srgbClr val="32B4B4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457178">
                <a:defRPr/>
              </a:pPr>
              <a:endParaRPr lang="en-US" dirty="0">
                <a:solidFill>
                  <a:srgbClr val="646464"/>
                </a:solidFill>
                <a:latin typeface="Arial"/>
              </a:endParaRPr>
            </a:p>
          </p:txBody>
        </p:sp>
        <p:sp>
          <p:nvSpPr>
            <p:cNvPr id="235" name="Forme libre : forme 39">
              <a:extLst>
                <a:ext uri="{FF2B5EF4-FFF2-40B4-BE49-F238E27FC236}">
                  <a16:creationId xmlns:a16="http://schemas.microsoft.com/office/drawing/2014/main" id="{C7951512-3EC8-4CC8-B281-73FBF968BF0C}"/>
                </a:ext>
              </a:extLst>
            </p:cNvPr>
            <p:cNvSpPr/>
            <p:nvPr/>
          </p:nvSpPr>
          <p:spPr>
            <a:xfrm>
              <a:off x="2393823" y="1974273"/>
              <a:ext cx="312038" cy="469509"/>
            </a:xfrm>
            <a:custGeom>
              <a:avLst/>
              <a:gdLst>
                <a:gd name="connsiteX0" fmla="*/ 0 w 312037"/>
                <a:gd name="connsiteY0" fmla="*/ 261019 h 469509"/>
                <a:gd name="connsiteX1" fmla="*/ 143119 w 312037"/>
                <a:gd name="connsiteY1" fmla="*/ 416748 h 469509"/>
                <a:gd name="connsiteX2" fmla="*/ 143119 w 312037"/>
                <a:gd name="connsiteY2" fmla="*/ 469568 h 469509"/>
                <a:gd name="connsiteX3" fmla="*/ 169151 w 312037"/>
                <a:gd name="connsiteY3" fmla="*/ 469510 h 469509"/>
                <a:gd name="connsiteX4" fmla="*/ 169151 w 312037"/>
                <a:gd name="connsiteY4" fmla="*/ 416748 h 469509"/>
                <a:gd name="connsiteX5" fmla="*/ 312328 w 312037"/>
                <a:gd name="connsiteY5" fmla="*/ 261019 h 469509"/>
                <a:gd name="connsiteX6" fmla="*/ 156193 w 312037"/>
                <a:gd name="connsiteY6" fmla="*/ 104303 h 469509"/>
                <a:gd name="connsiteX7" fmla="*/ 104187 w 312037"/>
                <a:gd name="connsiteY7" fmla="*/ 52006 h 469509"/>
                <a:gd name="connsiteX8" fmla="*/ 156193 w 312037"/>
                <a:gd name="connsiteY8" fmla="*/ 0 h 469509"/>
                <a:gd name="connsiteX9" fmla="*/ 208200 w 312037"/>
                <a:gd name="connsiteY9" fmla="*/ 52006 h 469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2037" h="469509">
                  <a:moveTo>
                    <a:pt x="0" y="261019"/>
                  </a:moveTo>
                  <a:cubicBezTo>
                    <a:pt x="0" y="343009"/>
                    <a:pt x="62989" y="410123"/>
                    <a:pt x="143119" y="416748"/>
                  </a:cubicBezTo>
                  <a:lnTo>
                    <a:pt x="143119" y="469568"/>
                  </a:lnTo>
                  <a:moveTo>
                    <a:pt x="169151" y="469510"/>
                  </a:moveTo>
                  <a:lnTo>
                    <a:pt x="169151" y="416748"/>
                  </a:lnTo>
                  <a:cubicBezTo>
                    <a:pt x="249282" y="410065"/>
                    <a:pt x="312328" y="342951"/>
                    <a:pt x="312328" y="261019"/>
                  </a:cubicBezTo>
                  <a:cubicBezTo>
                    <a:pt x="312328" y="174613"/>
                    <a:pt x="242425" y="104303"/>
                    <a:pt x="156193" y="104303"/>
                  </a:cubicBezTo>
                  <a:cubicBezTo>
                    <a:pt x="127488" y="104303"/>
                    <a:pt x="104187" y="80711"/>
                    <a:pt x="104187" y="52006"/>
                  </a:cubicBezTo>
                  <a:cubicBezTo>
                    <a:pt x="104187" y="23301"/>
                    <a:pt x="127488" y="0"/>
                    <a:pt x="156193" y="0"/>
                  </a:cubicBezTo>
                  <a:cubicBezTo>
                    <a:pt x="184898" y="0"/>
                    <a:pt x="208200" y="23301"/>
                    <a:pt x="208200" y="52006"/>
                  </a:cubicBezTo>
                </a:path>
              </a:pathLst>
            </a:custGeom>
            <a:noFill/>
            <a:ln w="12700" cap="flat">
              <a:solidFill>
                <a:srgbClr val="32B4B4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457178">
                <a:defRPr/>
              </a:pPr>
              <a:endParaRPr lang="en-US" dirty="0">
                <a:solidFill>
                  <a:srgbClr val="646464"/>
                </a:solidFill>
                <a:latin typeface="Arial"/>
              </a:endParaRPr>
            </a:p>
          </p:txBody>
        </p:sp>
      </p:grpSp>
      <p:sp>
        <p:nvSpPr>
          <p:cNvPr id="47" name="Rectangle 46"/>
          <p:cNvSpPr/>
          <p:nvPr/>
        </p:nvSpPr>
        <p:spPr>
          <a:xfrm>
            <a:off x="1153824" y="1155700"/>
            <a:ext cx="4881203" cy="5511800"/>
          </a:xfrm>
          <a:prstGeom prst="rect">
            <a:avLst/>
          </a:prstGeom>
          <a:solidFill>
            <a:srgbClr val="F7F7F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/>
            <a:endParaRPr lang="en-US" sz="1800" kern="0">
              <a:solidFill>
                <a:prstClr val="white"/>
              </a:solidFill>
            </a:endParaRPr>
          </a:p>
        </p:txBody>
      </p:sp>
      <p:sp>
        <p:nvSpPr>
          <p:cNvPr id="52" name="Oval 20"/>
          <p:cNvSpPr>
            <a:spLocks noChangeArrowheads="1"/>
          </p:cNvSpPr>
          <p:nvPr/>
        </p:nvSpPr>
        <p:spPr bwMode="auto">
          <a:xfrm>
            <a:off x="8672628" y="1658405"/>
            <a:ext cx="2390477" cy="2391365"/>
          </a:xfrm>
          <a:prstGeom prst="ellipse">
            <a:avLst/>
          </a:prstGeom>
          <a:solidFill>
            <a:srgbClr val="4300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 sz="1800" kern="0">
              <a:solidFill>
                <a:srgbClr val="646464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352668" y="1323807"/>
            <a:ext cx="4538301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7"/>
            <a:r>
              <a:rPr lang="en-US" sz="1800" dirty="0">
                <a:solidFill>
                  <a:srgbClr val="430099"/>
                </a:solidFill>
              </a:rPr>
              <a:t>Share of </a:t>
            </a:r>
            <a:r>
              <a:rPr lang="en-US" sz="1800" dirty="0" smtClean="0">
                <a:solidFill>
                  <a:srgbClr val="430099"/>
                </a:solidFill>
              </a:rPr>
              <a:t>US </a:t>
            </a:r>
            <a:r>
              <a:rPr lang="en-US" sz="1800" dirty="0">
                <a:solidFill>
                  <a:srgbClr val="430099"/>
                </a:solidFill>
              </a:rPr>
              <a:t>consumers who strongly agree that fingerprint recognition is fast, convenient, and secure respectively</a:t>
            </a:r>
          </a:p>
        </p:txBody>
      </p:sp>
      <p:sp>
        <p:nvSpPr>
          <p:cNvPr id="55" name="Rectangle 124"/>
          <p:cNvSpPr>
            <a:spLocks noChangeArrowheads="1"/>
          </p:cNvSpPr>
          <p:nvPr/>
        </p:nvSpPr>
        <p:spPr bwMode="auto">
          <a:xfrm>
            <a:off x="8190560" y="4966599"/>
            <a:ext cx="1130118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377"/>
            <a:r>
              <a:rPr lang="en-US" altLang="en-US" sz="4400" b="1" kern="0" dirty="0" smtClean="0">
                <a:solidFill>
                  <a:srgbClr val="430099"/>
                </a:solidFill>
                <a:latin typeface="+mn-lt"/>
              </a:rPr>
              <a:t>70%</a:t>
            </a:r>
            <a:endParaRPr lang="en-US" altLang="en-US" sz="1800" kern="0" dirty="0">
              <a:solidFill>
                <a:srgbClr val="430099"/>
              </a:solidFill>
              <a:latin typeface="+mn-lt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8190559" y="5604691"/>
            <a:ext cx="1910757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7"/>
            <a:r>
              <a:rPr lang="en-US" sz="1400" dirty="0">
                <a:solidFill>
                  <a:srgbClr val="646464"/>
                </a:solidFill>
              </a:rPr>
              <a:t>of </a:t>
            </a:r>
            <a:r>
              <a:rPr lang="en-US" sz="1400" dirty="0" smtClean="0">
                <a:solidFill>
                  <a:srgbClr val="646464"/>
                </a:solidFill>
              </a:rPr>
              <a:t>US </a:t>
            </a:r>
            <a:r>
              <a:rPr lang="en-US" sz="1400" dirty="0">
                <a:solidFill>
                  <a:srgbClr val="646464"/>
                </a:solidFill>
              </a:rPr>
              <a:t>consumers are ready to use their fingerprint instead of PIN code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264297" y="2365943"/>
            <a:ext cx="1539531" cy="23698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7"/>
            <a:r>
              <a:rPr lang="en-US" sz="1400" dirty="0" smtClean="0">
                <a:solidFill>
                  <a:srgbClr val="646464"/>
                </a:solidFill>
              </a:rPr>
              <a:t>US (and global) consumers </a:t>
            </a:r>
            <a:r>
              <a:rPr lang="en-US" sz="1400" dirty="0">
                <a:solidFill>
                  <a:srgbClr val="646464"/>
                </a:solidFill>
              </a:rPr>
              <a:t>are becoming familiar with fingerprint authentication. It</a:t>
            </a:r>
          </a:p>
          <a:p>
            <a:pPr defTabSz="914377"/>
            <a:r>
              <a:rPr lang="en-US" sz="1400" dirty="0">
                <a:solidFill>
                  <a:srgbClr val="646464"/>
                </a:solidFill>
              </a:rPr>
              <a:t>is now set to extend beyond smartphones to other form factors including payment cards</a:t>
            </a:r>
          </a:p>
        </p:txBody>
      </p:sp>
      <p:cxnSp>
        <p:nvCxnSpPr>
          <p:cNvPr id="58" name="Straight Connector 57"/>
          <p:cNvCxnSpPr/>
          <p:nvPr/>
        </p:nvCxnSpPr>
        <p:spPr>
          <a:xfrm flipH="1">
            <a:off x="7556500" y="3539883"/>
            <a:ext cx="750755" cy="0"/>
          </a:xfrm>
          <a:prstGeom prst="line">
            <a:avLst/>
          </a:prstGeom>
          <a:noFill/>
          <a:ln w="6350" cap="flat" cmpd="sng" algn="ctr">
            <a:solidFill>
              <a:srgbClr val="430099"/>
            </a:solidFill>
            <a:prstDash val="solid"/>
            <a:miter lim="800000"/>
            <a:tailEnd type="oval"/>
          </a:ln>
          <a:effectLst/>
        </p:spPr>
      </p:cxnSp>
      <p:cxnSp>
        <p:nvCxnSpPr>
          <p:cNvPr id="59" name="Straight Connector 58"/>
          <p:cNvCxnSpPr/>
          <p:nvPr/>
        </p:nvCxnSpPr>
        <p:spPr>
          <a:xfrm>
            <a:off x="9320677" y="3762227"/>
            <a:ext cx="0" cy="1380471"/>
          </a:xfrm>
          <a:prstGeom prst="line">
            <a:avLst/>
          </a:prstGeom>
          <a:noFill/>
          <a:ln w="6350" cap="flat" cmpd="sng" algn="ctr">
            <a:solidFill>
              <a:srgbClr val="430099"/>
            </a:solidFill>
            <a:prstDash val="solid"/>
            <a:miter lim="800000"/>
            <a:tailEnd type="oval"/>
          </a:ln>
          <a:effectLst/>
        </p:spPr>
      </p:cxnSp>
      <p:sp>
        <p:nvSpPr>
          <p:cNvPr id="60" name="Rectangle 59"/>
          <p:cNvSpPr/>
          <p:nvPr/>
        </p:nvSpPr>
        <p:spPr>
          <a:xfrm>
            <a:off x="1579243" y="3302000"/>
            <a:ext cx="888983" cy="2161363"/>
          </a:xfrm>
          <a:prstGeom prst="rect">
            <a:avLst/>
          </a:prstGeom>
          <a:solidFill>
            <a:srgbClr val="32B4B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/>
            <a:endParaRPr lang="en-US" sz="1800" kern="0">
              <a:solidFill>
                <a:prstClr val="white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3138185" y="3302000"/>
            <a:ext cx="888983" cy="2161363"/>
          </a:xfrm>
          <a:prstGeom prst="rect">
            <a:avLst/>
          </a:prstGeom>
          <a:solidFill>
            <a:srgbClr val="32B4B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/>
            <a:endParaRPr lang="en-US" sz="1800" kern="0">
              <a:solidFill>
                <a:prstClr val="white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4676142" y="3302000"/>
            <a:ext cx="888983" cy="2161363"/>
          </a:xfrm>
          <a:prstGeom prst="rect">
            <a:avLst/>
          </a:prstGeom>
          <a:solidFill>
            <a:srgbClr val="32B4B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/>
            <a:endParaRPr lang="en-US" sz="1800" kern="0">
              <a:solidFill>
                <a:prstClr val="white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1579243" y="3683599"/>
            <a:ext cx="888983" cy="2120359"/>
          </a:xfrm>
          <a:prstGeom prst="rect">
            <a:avLst/>
          </a:prstGeom>
          <a:solidFill>
            <a:srgbClr val="43009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/>
            <a:endParaRPr lang="en-US" sz="1800" kern="0">
              <a:solidFill>
                <a:prstClr val="white"/>
              </a:solidFill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3138185" y="3683599"/>
            <a:ext cx="888983" cy="2120357"/>
          </a:xfrm>
          <a:prstGeom prst="rect">
            <a:avLst/>
          </a:prstGeom>
          <a:solidFill>
            <a:srgbClr val="43009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/>
            <a:endParaRPr lang="en-US" sz="1800" kern="0">
              <a:solidFill>
                <a:prstClr val="white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4676142" y="3762228"/>
            <a:ext cx="888983" cy="2041730"/>
          </a:xfrm>
          <a:prstGeom prst="rect">
            <a:avLst/>
          </a:prstGeom>
          <a:solidFill>
            <a:srgbClr val="43009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/>
            <a:endParaRPr lang="en-US" sz="1800" kern="0">
              <a:solidFill>
                <a:prstClr val="white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744303" y="5935842"/>
            <a:ext cx="39914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77"/>
            <a:r>
              <a:rPr lang="en-US" sz="1600" dirty="0">
                <a:solidFill>
                  <a:srgbClr val="430099"/>
                </a:solidFill>
              </a:rPr>
              <a:t>Fast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2987961" y="5935842"/>
            <a:ext cx="103554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77"/>
            <a:r>
              <a:rPr lang="en-US" sz="1600" dirty="0">
                <a:solidFill>
                  <a:srgbClr val="430099"/>
                </a:solidFill>
              </a:rPr>
              <a:t>Convenient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4746959" y="5935842"/>
            <a:ext cx="64921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77"/>
            <a:r>
              <a:rPr lang="en-US" sz="1600" dirty="0">
                <a:solidFill>
                  <a:srgbClr val="430099"/>
                </a:solidFill>
              </a:rPr>
              <a:t>Secure</a:t>
            </a:r>
          </a:p>
        </p:txBody>
      </p:sp>
      <p:grpSp>
        <p:nvGrpSpPr>
          <p:cNvPr id="69" name="Group 68"/>
          <p:cNvGrpSpPr/>
          <p:nvPr/>
        </p:nvGrpSpPr>
        <p:grpSpPr>
          <a:xfrm>
            <a:off x="1645424" y="2780233"/>
            <a:ext cx="3786428" cy="430887"/>
            <a:chOff x="1645424" y="3229392"/>
            <a:chExt cx="3786427" cy="430886"/>
          </a:xfrm>
        </p:grpSpPr>
        <p:sp>
          <p:nvSpPr>
            <p:cNvPr id="70" name="Rectangle 21"/>
            <p:cNvSpPr>
              <a:spLocks noChangeArrowheads="1"/>
            </p:cNvSpPr>
            <p:nvPr/>
          </p:nvSpPr>
          <p:spPr bwMode="auto">
            <a:xfrm>
              <a:off x="1645424" y="3229392"/>
              <a:ext cx="719749" cy="430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377"/>
              <a:r>
                <a:rPr lang="en-US" altLang="en-US" sz="2800" b="1" kern="0" dirty="0" smtClean="0">
                  <a:solidFill>
                    <a:srgbClr val="430099"/>
                  </a:solidFill>
                  <a:latin typeface="+mn-lt"/>
                </a:rPr>
                <a:t>87%</a:t>
              </a:r>
              <a:endParaRPr lang="en-US" altLang="en-US" sz="1400" kern="0" dirty="0">
                <a:solidFill>
                  <a:srgbClr val="430099"/>
                </a:solidFill>
                <a:latin typeface="+mn-lt"/>
              </a:endParaRPr>
            </a:p>
          </p:txBody>
        </p:sp>
        <p:sp>
          <p:nvSpPr>
            <p:cNvPr id="71" name="Rectangle 22"/>
            <p:cNvSpPr>
              <a:spLocks noChangeArrowheads="1"/>
            </p:cNvSpPr>
            <p:nvPr/>
          </p:nvSpPr>
          <p:spPr bwMode="auto">
            <a:xfrm>
              <a:off x="3216917" y="3229392"/>
              <a:ext cx="719749" cy="430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377"/>
              <a:r>
                <a:rPr lang="en-US" altLang="en-US" sz="2800" b="1" kern="0" dirty="0" smtClean="0">
                  <a:solidFill>
                    <a:srgbClr val="430099"/>
                  </a:solidFill>
                  <a:latin typeface="+mn-lt"/>
                </a:rPr>
                <a:t>86%</a:t>
              </a:r>
              <a:endParaRPr lang="en-US" altLang="en-US" sz="1400" kern="0" dirty="0">
                <a:solidFill>
                  <a:srgbClr val="430099"/>
                </a:solidFill>
                <a:latin typeface="+mn-lt"/>
              </a:endParaRPr>
            </a:p>
          </p:txBody>
        </p:sp>
        <p:sp>
          <p:nvSpPr>
            <p:cNvPr id="72" name="Rectangle 23"/>
            <p:cNvSpPr>
              <a:spLocks noChangeArrowheads="1"/>
            </p:cNvSpPr>
            <p:nvPr/>
          </p:nvSpPr>
          <p:spPr bwMode="auto">
            <a:xfrm>
              <a:off x="4712102" y="3229392"/>
              <a:ext cx="719749" cy="430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377"/>
              <a:r>
                <a:rPr lang="en-US" altLang="en-US" sz="2800" b="1" kern="0" dirty="0" smtClean="0">
                  <a:solidFill>
                    <a:srgbClr val="430099"/>
                  </a:solidFill>
                  <a:latin typeface="+mn-lt"/>
                </a:rPr>
                <a:t>81%</a:t>
              </a:r>
              <a:endParaRPr lang="en-US" altLang="en-US" sz="1400" kern="0" dirty="0">
                <a:solidFill>
                  <a:srgbClr val="430099"/>
                </a:solidFill>
                <a:latin typeface="+mn-lt"/>
              </a:endParaRPr>
            </a:p>
          </p:txBody>
        </p:sp>
      </p:grpSp>
      <p:sp>
        <p:nvSpPr>
          <p:cNvPr id="86" name="TextBox 85"/>
          <p:cNvSpPr txBox="1"/>
          <p:nvPr/>
        </p:nvSpPr>
        <p:spPr>
          <a:xfrm>
            <a:off x="9630289" y="6611779"/>
            <a:ext cx="28417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Source: Research from </a:t>
            </a:r>
            <a:r>
              <a:rPr lang="en-US" sz="1000" dirty="0" err="1" smtClean="0"/>
              <a:t>Dentsu</a:t>
            </a:r>
            <a:r>
              <a:rPr lang="en-US" sz="1000" dirty="0" smtClean="0"/>
              <a:t> Data Labs</a:t>
            </a:r>
            <a:endParaRPr lang="en-US" sz="1000" dirty="0"/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46956" y="1532224"/>
            <a:ext cx="4260591" cy="5683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20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S - Payment Services">
  <a:themeElements>
    <a:clrScheme name="_IDEMIA - 2 -  FI">
      <a:dk1>
        <a:srgbClr val="646464"/>
      </a:dk1>
      <a:lt1>
        <a:sysClr val="window" lastClr="FFFFFF"/>
      </a:lt1>
      <a:dk2>
        <a:srgbClr val="32B4B4"/>
      </a:dk2>
      <a:lt2>
        <a:srgbClr val="B4B4B4"/>
      </a:lt2>
      <a:accent1>
        <a:srgbClr val="430099"/>
      </a:accent1>
      <a:accent2>
        <a:srgbClr val="FFC300"/>
      </a:accent2>
      <a:accent3>
        <a:srgbClr val="00A870"/>
      </a:accent3>
      <a:accent4>
        <a:srgbClr val="6476B8"/>
      </a:accent4>
      <a:accent5>
        <a:srgbClr val="EB5D40"/>
      </a:accent5>
      <a:accent6>
        <a:srgbClr val="C63577"/>
      </a:accent6>
      <a:hlink>
        <a:srgbClr val="430099"/>
      </a:hlink>
      <a:folHlink>
        <a:srgbClr val="430099"/>
      </a:folHlink>
    </a:clrScheme>
    <a:fontScheme name="_IDEMIA NEW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ayment Services">
      <a:srgbClr val="32B4B4"/>
    </a:custClr>
    <a:custClr name="Connectivity Services">
      <a:srgbClr val="F0A0AA"/>
    </a:custClr>
    <a:custClr name="Public Security and Identity">
      <a:srgbClr val="AA9BB9"/>
    </a:custClr>
    <a:custClr name="Identity and Security N.A.">
      <a:srgbClr val="A5CDE6"/>
    </a:custClr>
  </a:custClrLst>
  <a:extLst>
    <a:ext uri="{05A4C25C-085E-4340-85A3-A5531E510DB2}">
      <thm15:themeFamily xmlns:thm15="http://schemas.microsoft.com/office/thememl/2012/main" name="IDEMIA – Corporate" id="{0408C8C7-1309-40E5-BA2F-E1E5FB8940B9}" vid="{32D19BDC-8E09-4863-9285-6418C1F98382}"/>
    </a:ext>
  </a:extLst>
</a:theme>
</file>

<file path=ppt/theme/theme2.xml><?xml version="1.0" encoding="utf-8"?>
<a:theme xmlns:a="http://schemas.openxmlformats.org/drawingml/2006/main" name="IDEMIA – Corporate">
  <a:themeElements>
    <a:clrScheme name="_IDEMIA - 1 -  CORPO">
      <a:dk1>
        <a:srgbClr val="646464"/>
      </a:dk1>
      <a:lt1>
        <a:srgbClr val="FFFFFF"/>
      </a:lt1>
      <a:dk2>
        <a:srgbClr val="430099"/>
      </a:dk2>
      <a:lt2>
        <a:srgbClr val="B4B4B4"/>
      </a:lt2>
      <a:accent1>
        <a:srgbClr val="430099"/>
      </a:accent1>
      <a:accent2>
        <a:srgbClr val="FFC300"/>
      </a:accent2>
      <a:accent3>
        <a:srgbClr val="00A870"/>
      </a:accent3>
      <a:accent4>
        <a:srgbClr val="6476B8"/>
      </a:accent4>
      <a:accent5>
        <a:srgbClr val="EB5D40"/>
      </a:accent5>
      <a:accent6>
        <a:srgbClr val="C63577"/>
      </a:accent6>
      <a:hlink>
        <a:srgbClr val="430099"/>
      </a:hlink>
      <a:folHlink>
        <a:srgbClr val="430099"/>
      </a:folHlink>
    </a:clrScheme>
    <a:fontScheme name="_IDEMIA NEW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ayment Services">
      <a:srgbClr val="32B4B4"/>
    </a:custClr>
    <a:custClr name="Connectivity Services">
      <a:srgbClr val="F0A0AA"/>
    </a:custClr>
    <a:custClr name="Public Security and Identity">
      <a:srgbClr val="AA9BB9"/>
    </a:custClr>
    <a:custClr name="Identity and Security N.A.">
      <a:srgbClr val="A5CDE6"/>
    </a:custClr>
  </a:custClrLst>
  <a:extLst>
    <a:ext uri="{05A4C25C-085E-4340-85A3-A5531E510DB2}">
      <thm15:themeFamily xmlns:thm15="http://schemas.microsoft.com/office/thememl/2012/main" name="IDEMIA – Corporate" id="{0408C8C7-1309-40E5-BA2F-E1E5FB8940B9}" vid="{32D19BDC-8E09-4863-9285-6418C1F9838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A7C26965712CC42B0B36C7EA2FCF6DE" ma:contentTypeVersion="14" ma:contentTypeDescription="Crée un document." ma:contentTypeScope="" ma:versionID="fc4f9d55982e0dbd0bb8e888dde598d5">
  <xsd:schema xmlns:xsd="http://www.w3.org/2001/XMLSchema" xmlns:xs="http://www.w3.org/2001/XMLSchema" xmlns:p="http://schemas.microsoft.com/office/2006/metadata/properties" xmlns:ns3="34d3e54b-d462-4f51-83b6-6cd7f4b454d5" xmlns:ns4="c9fe69cb-1d4b-461a-8155-8bb96486ee7c" targetNamespace="http://schemas.microsoft.com/office/2006/metadata/properties" ma:root="true" ma:fieldsID="b0fdfb1bca617e2598a000b43513ba9e" ns3:_="" ns4:_="">
    <xsd:import namespace="34d3e54b-d462-4f51-83b6-6cd7f4b454d5"/>
    <xsd:import namespace="c9fe69cb-1d4b-461a-8155-8bb96486ee7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d3e54b-d462-4f51-83b6-6cd7f4b454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Location" ma:internalName="MediaServiceLocatio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fe69cb-1d4b-461a-8155-8bb96486ee7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A24B375-ECB8-47CB-8EE1-BCB9B1C5901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46295E1-2185-434D-AE91-46C6222BA428}">
  <ds:schemaRefs>
    <ds:schemaRef ds:uri="http://schemas.openxmlformats.org/package/2006/metadata/core-properties"/>
    <ds:schemaRef ds:uri="http://schemas.microsoft.com/office/2006/documentManagement/types"/>
    <ds:schemaRef ds:uri="c9fe69cb-1d4b-461a-8155-8bb96486ee7c"/>
    <ds:schemaRef ds:uri="http://purl.org/dc/elements/1.1/"/>
    <ds:schemaRef ds:uri="http://schemas.microsoft.com/office/2006/metadata/properties"/>
    <ds:schemaRef ds:uri="34d3e54b-d462-4f51-83b6-6cd7f4b454d5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E3DD0F3-FB51-4009-B0C1-44510BA8008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4d3e54b-d462-4f51-83b6-6cd7f4b454d5"/>
    <ds:schemaRef ds:uri="c9fe69cb-1d4b-461a-8155-8bb96486ee7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98</Words>
  <Application>Microsoft Office PowerPoint</Application>
  <PresentationFormat>Widescreen</PresentationFormat>
  <Paragraphs>41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Arial Black</vt:lpstr>
      <vt:lpstr>Mongolian Baiti</vt:lpstr>
      <vt:lpstr>PS - Payment Services</vt:lpstr>
      <vt:lpstr>IDEMIA – Corporate</vt:lpstr>
      <vt:lpstr>think-cell Slide</vt:lpstr>
      <vt:lpstr>Us (AND GLOBAL) CONSUMERS EMBRACE BIOMETRICS*</vt:lpstr>
      <vt:lpstr>Fingerprint the most widespread form of biometrics in the us*</vt:lpstr>
      <vt:lpstr>SMARTPHONE USAGE PAVING THE WAY FOR BIOMETRICS WITHIN us PAYMENTS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yment  services</dc:title>
  <dc:creator/>
  <cp:lastModifiedBy/>
  <cp:revision>2</cp:revision>
  <dcterms:created xsi:type="dcterms:W3CDTF">2020-01-16T10:13:00Z</dcterms:created>
  <dcterms:modified xsi:type="dcterms:W3CDTF">2023-02-17T16:09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7C26965712CC42B0B36C7EA2FCF6DE</vt:lpwstr>
  </property>
  <property fmtid="{D5CDD505-2E9C-101B-9397-08002B2CF9AE}" pid="3" name="MSIP_Label_431684b1-a5da-4051-9fb4-5631703e02d5_Enabled">
    <vt:lpwstr>true</vt:lpwstr>
  </property>
  <property fmtid="{D5CDD505-2E9C-101B-9397-08002B2CF9AE}" pid="4" name="MSIP_Label_431684b1-a5da-4051-9fb4-5631703e02d5_SetDate">
    <vt:lpwstr>2022-05-06T12:10:26Z</vt:lpwstr>
  </property>
  <property fmtid="{D5CDD505-2E9C-101B-9397-08002B2CF9AE}" pid="5" name="MSIP_Label_431684b1-a5da-4051-9fb4-5631703e02d5_Method">
    <vt:lpwstr>Privileged</vt:lpwstr>
  </property>
  <property fmtid="{D5CDD505-2E9C-101B-9397-08002B2CF9AE}" pid="6" name="MSIP_Label_431684b1-a5da-4051-9fb4-5631703e02d5_Name">
    <vt:lpwstr>431684b1-a5da-4051-9fb4-5631703e02d5</vt:lpwstr>
  </property>
  <property fmtid="{D5CDD505-2E9C-101B-9397-08002B2CF9AE}" pid="7" name="MSIP_Label_431684b1-a5da-4051-9fb4-5631703e02d5_SiteId">
    <vt:lpwstr>7694d41c-5504-43d9-9e40-cb254ad755ec</vt:lpwstr>
  </property>
  <property fmtid="{D5CDD505-2E9C-101B-9397-08002B2CF9AE}" pid="8" name="MSIP_Label_431684b1-a5da-4051-9fb4-5631703e02d5_ActionId">
    <vt:lpwstr>db180369-b488-4c23-ab2b-8dbd6cfab457</vt:lpwstr>
  </property>
  <property fmtid="{D5CDD505-2E9C-101B-9397-08002B2CF9AE}" pid="9" name="MSIP_Label_431684b1-a5da-4051-9fb4-5631703e02d5_ContentBits">
    <vt:lpwstr>0</vt:lpwstr>
  </property>
  <property fmtid="{D5CDD505-2E9C-101B-9397-08002B2CF9AE}" pid="10" name="Sensitivity">
    <vt:lpwstr>Public</vt:lpwstr>
  </property>
  <property fmtid="{D5CDD505-2E9C-101B-9397-08002B2CF9AE}" pid="11" name="MSIP_Label_431684b1-a5da-4051-9fb4-5631703e02d5_Application">
    <vt:lpwstr>Microsoft Azure Information Protection</vt:lpwstr>
  </property>
  <property fmtid="{D5CDD505-2E9C-101B-9397-08002B2CF9AE}" pid="12" name="MSIP_Label_431684b1-a5da-4051-9fb4-5631703e02d5_Owner">
    <vt:lpwstr>SimonLAS@oberthurcs.com</vt:lpwstr>
  </property>
  <property fmtid="{D5CDD505-2E9C-101B-9397-08002B2CF9AE}" pid="13" name="MSIP_Label_431684b1-a5da-4051-9fb4-5631703e02d5_Extended_MSFT_Method">
    <vt:lpwstr>Manual</vt:lpwstr>
  </property>
</Properties>
</file>